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1" r:id="rId3"/>
  </p:sldMasterIdLst>
  <p:notesMasterIdLst>
    <p:notesMasterId r:id="rId15"/>
  </p:notesMasterIdLst>
  <p:sldIdLst>
    <p:sldId id="256" r:id="rId4"/>
    <p:sldId id="257" r:id="rId5"/>
    <p:sldId id="288" r:id="rId6"/>
    <p:sldId id="303" r:id="rId7"/>
    <p:sldId id="5057" r:id="rId8"/>
    <p:sldId id="5075" r:id="rId9"/>
    <p:sldId id="5077" r:id="rId10"/>
    <p:sldId id="5074" r:id="rId11"/>
    <p:sldId id="5078" r:id="rId12"/>
    <p:sldId id="5071" r:id="rId13"/>
    <p:sldId id="5069"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5F680-FF57-4793-B1AB-9E3E34E3B33C}">
          <p14:sldIdLst>
            <p14:sldId id="256"/>
            <p14:sldId id="257"/>
            <p14:sldId id="288"/>
            <p14:sldId id="303"/>
          </p14:sldIdLst>
        </p14:section>
        <p14:section name="Final Deck Template" id="{7E3EDA95-5259-473E-A9CE-A4948A5B6210}">
          <p14:sldIdLst>
            <p14:sldId id="5057"/>
            <p14:sldId id="5075"/>
            <p14:sldId id="5077"/>
            <p14:sldId id="5074"/>
            <p14:sldId id="5078"/>
            <p14:sldId id="5071"/>
            <p14:sldId id="50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545C19-8A3E-4C75-8EFE-F74109879CC0}" v="4" dt="2024-08-23T21:28:42.9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78" d="100"/>
          <a:sy n="78" d="100"/>
        </p:scale>
        <p:origin x="878"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thika K" userId="61003dd680ba724b" providerId="LiveId" clId="{5F545C19-8A3E-4C75-8EFE-F74109879CC0}"/>
    <pc:docChg chg="modSld">
      <pc:chgData name="Jothika K" userId="61003dd680ba724b" providerId="LiveId" clId="{5F545C19-8A3E-4C75-8EFE-F74109879CC0}" dt="2024-08-23T21:28:44.890" v="9" actId="1035"/>
      <pc:docMkLst>
        <pc:docMk/>
      </pc:docMkLst>
      <pc:sldChg chg="addSp modSp">
        <pc:chgData name="Jothika K" userId="61003dd680ba724b" providerId="LiveId" clId="{5F545C19-8A3E-4C75-8EFE-F74109879CC0}" dt="2024-08-23T21:28:32.517" v="6"/>
        <pc:sldMkLst>
          <pc:docMk/>
          <pc:sldMk cId="2268141921" sldId="5069"/>
        </pc:sldMkLst>
        <pc:picChg chg="add mod">
          <ac:chgData name="Jothika K" userId="61003dd680ba724b" providerId="LiveId" clId="{5F545C19-8A3E-4C75-8EFE-F74109879CC0}" dt="2024-08-23T21:28:32.517" v="6"/>
          <ac:picMkLst>
            <pc:docMk/>
            <pc:sldMk cId="2268141921" sldId="5069"/>
            <ac:picMk id="3" creationId="{CC532F43-D4A6-3BB9-6D0F-1E8B6B93B15E}"/>
          </ac:picMkLst>
        </pc:picChg>
      </pc:sldChg>
      <pc:sldChg chg="addSp modSp">
        <pc:chgData name="Jothika K" userId="61003dd680ba724b" providerId="LiveId" clId="{5F545C19-8A3E-4C75-8EFE-F74109879CC0}" dt="2024-08-23T21:28:37.702" v="7"/>
        <pc:sldMkLst>
          <pc:docMk/>
          <pc:sldMk cId="500226328" sldId="5071"/>
        </pc:sldMkLst>
        <pc:picChg chg="add mod">
          <ac:chgData name="Jothika K" userId="61003dd680ba724b" providerId="LiveId" clId="{5F545C19-8A3E-4C75-8EFE-F74109879CC0}" dt="2024-08-23T21:28:37.702" v="7"/>
          <ac:picMkLst>
            <pc:docMk/>
            <pc:sldMk cId="500226328" sldId="5071"/>
            <ac:picMk id="4" creationId="{8996BEE8-1E8F-A9D1-5468-CD28D6B5A606}"/>
          </ac:picMkLst>
        </pc:picChg>
      </pc:sldChg>
      <pc:sldChg chg="addSp modSp mod">
        <pc:chgData name="Jothika K" userId="61003dd680ba724b" providerId="LiveId" clId="{5F545C19-8A3E-4C75-8EFE-F74109879CC0}" dt="2024-08-23T21:28:44.890" v="9" actId="1035"/>
        <pc:sldMkLst>
          <pc:docMk/>
          <pc:sldMk cId="1251978432" sldId="5077"/>
        </pc:sldMkLst>
        <pc:picChg chg="add mod">
          <ac:chgData name="Jothika K" userId="61003dd680ba724b" providerId="LiveId" clId="{5F545C19-8A3E-4C75-8EFE-F74109879CC0}" dt="2024-08-23T21:28:44.890" v="9" actId="1035"/>
          <ac:picMkLst>
            <pc:docMk/>
            <pc:sldMk cId="1251978432" sldId="5077"/>
            <ac:picMk id="3" creationId="{E320A379-8CAA-47A3-D2D8-1AD523203254}"/>
          </ac:picMkLst>
        </pc:picChg>
      </pc:sldChg>
      <pc:sldChg chg="addSp modSp mod">
        <pc:chgData name="Jothika K" userId="61003dd680ba724b" providerId="LiveId" clId="{5F545C19-8A3E-4C75-8EFE-F74109879CC0}" dt="2024-08-23T21:28:25.434" v="5" actId="1076"/>
        <pc:sldMkLst>
          <pc:docMk/>
          <pc:sldMk cId="2205428092" sldId="5078"/>
        </pc:sldMkLst>
        <pc:graphicFrameChg chg="mod">
          <ac:chgData name="Jothika K" userId="61003dd680ba724b" providerId="LiveId" clId="{5F545C19-8A3E-4C75-8EFE-F74109879CC0}" dt="2024-08-23T21:28:12.573" v="3" actId="14100"/>
          <ac:graphicFrameMkLst>
            <pc:docMk/>
            <pc:sldMk cId="2205428092" sldId="5078"/>
            <ac:graphicFrameMk id="9" creationId="{52EBBC88-6EC6-79E2-25D7-19EDA5DD22B2}"/>
          </ac:graphicFrameMkLst>
        </pc:graphicFrameChg>
        <pc:picChg chg="add mod">
          <ac:chgData name="Jothika K" userId="61003dd680ba724b" providerId="LiveId" clId="{5F545C19-8A3E-4C75-8EFE-F74109879CC0}" dt="2024-08-23T21:28:25.434" v="5" actId="1076"/>
          <ac:picMkLst>
            <pc:docMk/>
            <pc:sldMk cId="2205428092" sldId="5078"/>
            <ac:picMk id="6" creationId="{2880B3BF-7004-72A7-1A2B-7D7A1E98BF1A}"/>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8222F-5471-48E1-A8ED-4BEE80065BB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3BFB40F8-CC3E-4BAC-9BE6-0A53D71640E0}">
      <dgm:prSet phldrT="[Text]"/>
      <dgm:spPr/>
      <dgm:t>
        <a:bodyPr/>
        <a:lstStyle/>
        <a:p>
          <a:r>
            <a:rPr lang="en-US" b="1" dirty="0"/>
            <a:t>Data Exploration</a:t>
          </a:r>
          <a:endParaRPr lang="en-IN" b="1" dirty="0"/>
        </a:p>
      </dgm:t>
    </dgm:pt>
    <dgm:pt modelId="{AB08CF31-47BB-4C81-9D8F-6C604982CF0F}" type="parTrans" cxnId="{DD77812D-0C4F-416F-8B78-E462FB597ECF}">
      <dgm:prSet/>
      <dgm:spPr/>
      <dgm:t>
        <a:bodyPr/>
        <a:lstStyle/>
        <a:p>
          <a:endParaRPr lang="en-IN"/>
        </a:p>
      </dgm:t>
    </dgm:pt>
    <dgm:pt modelId="{CC3FC16F-6B41-451B-90D1-87B1E024D596}" type="sibTrans" cxnId="{DD77812D-0C4F-416F-8B78-E462FB597ECF}">
      <dgm:prSet/>
      <dgm:spPr/>
      <dgm:t>
        <a:bodyPr/>
        <a:lstStyle/>
        <a:p>
          <a:endParaRPr lang="en-IN"/>
        </a:p>
      </dgm:t>
    </dgm:pt>
    <dgm:pt modelId="{48587C43-9B5A-41D3-8F12-EAB464411FB3}">
      <dgm:prSet phldrT="[Text]"/>
      <dgm:spPr/>
      <dgm:t>
        <a:bodyPr/>
        <a:lstStyle/>
        <a:p>
          <a:pPr algn="just"/>
          <a:r>
            <a:rPr lang="en-US" dirty="0"/>
            <a:t>Examined the first few rows, summary statistics, and data types.</a:t>
          </a:r>
          <a:endParaRPr lang="en-IN" dirty="0"/>
        </a:p>
      </dgm:t>
    </dgm:pt>
    <dgm:pt modelId="{90DFEFA0-9FDE-425B-8019-6E5983CA5443}" type="parTrans" cxnId="{2131D038-4E0D-461B-A57F-A853EC5374A1}">
      <dgm:prSet/>
      <dgm:spPr/>
      <dgm:t>
        <a:bodyPr/>
        <a:lstStyle/>
        <a:p>
          <a:endParaRPr lang="en-IN"/>
        </a:p>
      </dgm:t>
    </dgm:pt>
    <dgm:pt modelId="{4667FDF2-801F-4478-BF31-AA6BC1A8461F}" type="sibTrans" cxnId="{2131D038-4E0D-461B-A57F-A853EC5374A1}">
      <dgm:prSet/>
      <dgm:spPr/>
      <dgm:t>
        <a:bodyPr/>
        <a:lstStyle/>
        <a:p>
          <a:endParaRPr lang="en-IN"/>
        </a:p>
      </dgm:t>
    </dgm:pt>
    <dgm:pt modelId="{C7B87F86-D58C-4C58-8D46-8E2BAF145C7D}">
      <dgm:prSet phldrT="[Text]"/>
      <dgm:spPr/>
      <dgm:t>
        <a:bodyPr/>
        <a:lstStyle/>
        <a:p>
          <a:pPr algn="just"/>
          <a:r>
            <a:rPr lang="en-US" dirty="0"/>
            <a:t>Checked for missing values</a:t>
          </a:r>
          <a:endParaRPr lang="en-IN" dirty="0"/>
        </a:p>
      </dgm:t>
    </dgm:pt>
    <dgm:pt modelId="{05EF4014-81F5-4BB3-984F-53A42703A30C}" type="parTrans" cxnId="{15360C4B-F8B7-495C-ABDB-A9B98700A102}">
      <dgm:prSet/>
      <dgm:spPr/>
      <dgm:t>
        <a:bodyPr/>
        <a:lstStyle/>
        <a:p>
          <a:endParaRPr lang="en-IN"/>
        </a:p>
      </dgm:t>
    </dgm:pt>
    <dgm:pt modelId="{C3E486DB-0F69-472A-8140-9B972202075B}" type="sibTrans" cxnId="{15360C4B-F8B7-495C-ABDB-A9B98700A102}">
      <dgm:prSet/>
      <dgm:spPr/>
      <dgm:t>
        <a:bodyPr/>
        <a:lstStyle/>
        <a:p>
          <a:endParaRPr lang="en-IN"/>
        </a:p>
      </dgm:t>
    </dgm:pt>
    <dgm:pt modelId="{F21AC287-B14D-40E4-9075-4B8D723F317E}">
      <dgm:prSet phldrT="[Text]"/>
      <dgm:spPr/>
      <dgm:t>
        <a:bodyPr/>
        <a:lstStyle/>
        <a:p>
          <a:r>
            <a:rPr lang="en-US" b="1" dirty="0"/>
            <a:t>Data Pre-Processing</a:t>
          </a:r>
          <a:endParaRPr lang="en-IN" b="1" dirty="0"/>
        </a:p>
      </dgm:t>
    </dgm:pt>
    <dgm:pt modelId="{F5CE41E9-390D-4F07-BA78-511A8E062820}" type="parTrans" cxnId="{83E89A60-84AF-4524-8614-EEC2614006FC}">
      <dgm:prSet/>
      <dgm:spPr/>
      <dgm:t>
        <a:bodyPr/>
        <a:lstStyle/>
        <a:p>
          <a:endParaRPr lang="en-IN"/>
        </a:p>
      </dgm:t>
    </dgm:pt>
    <dgm:pt modelId="{F47E2A06-6D2C-4496-A790-12A3A2D4D38C}" type="sibTrans" cxnId="{83E89A60-84AF-4524-8614-EEC2614006FC}">
      <dgm:prSet/>
      <dgm:spPr/>
      <dgm:t>
        <a:bodyPr/>
        <a:lstStyle/>
        <a:p>
          <a:endParaRPr lang="en-IN"/>
        </a:p>
      </dgm:t>
    </dgm:pt>
    <dgm:pt modelId="{3EC044E6-0429-4024-A261-0F4E0EF1BCCA}">
      <dgm:prSet phldrT="[Text]"/>
      <dgm:spPr/>
      <dgm:t>
        <a:bodyPr/>
        <a:lstStyle/>
        <a:p>
          <a:r>
            <a:rPr lang="en-US" dirty="0"/>
            <a:t>Applied </a:t>
          </a:r>
          <a:r>
            <a:rPr lang="en-US" b="1" dirty="0" err="1"/>
            <a:t>StandardScale</a:t>
          </a:r>
          <a:r>
            <a:rPr lang="en-US" dirty="0" err="1"/>
            <a:t>r</a:t>
          </a:r>
          <a:r>
            <a:rPr lang="en-US" dirty="0"/>
            <a:t> to numerical features and </a:t>
          </a:r>
          <a:r>
            <a:rPr lang="en-US" b="1" dirty="0" err="1"/>
            <a:t>OneHotEncoder</a:t>
          </a:r>
          <a:r>
            <a:rPr lang="en-US" dirty="0"/>
            <a:t> to categorical features to standardize and encode the data.</a:t>
          </a:r>
          <a:endParaRPr lang="en-IN" dirty="0"/>
        </a:p>
      </dgm:t>
    </dgm:pt>
    <dgm:pt modelId="{25B9787E-A867-4241-B0D6-4B52CA557E0E}" type="parTrans" cxnId="{33E48EE6-4F89-4E2C-A654-ED63DA13E0B6}">
      <dgm:prSet/>
      <dgm:spPr/>
      <dgm:t>
        <a:bodyPr/>
        <a:lstStyle/>
        <a:p>
          <a:endParaRPr lang="en-IN"/>
        </a:p>
      </dgm:t>
    </dgm:pt>
    <dgm:pt modelId="{0B26743C-C1B7-4529-9FC6-C916BFD07112}" type="sibTrans" cxnId="{33E48EE6-4F89-4E2C-A654-ED63DA13E0B6}">
      <dgm:prSet/>
      <dgm:spPr/>
      <dgm:t>
        <a:bodyPr/>
        <a:lstStyle/>
        <a:p>
          <a:endParaRPr lang="en-IN"/>
        </a:p>
      </dgm:t>
    </dgm:pt>
    <dgm:pt modelId="{598D63F3-C39E-460B-939F-5C1F8A3F4D42}">
      <dgm:prSet phldrT="[Text]"/>
      <dgm:spPr/>
      <dgm:t>
        <a:bodyPr/>
        <a:lstStyle/>
        <a:p>
          <a:pPr algn="just"/>
          <a:r>
            <a:rPr lang="en-US" dirty="0"/>
            <a:t>Analyzed distributions of key variables, such as </a:t>
          </a:r>
          <a:r>
            <a:rPr lang="en-US" dirty="0" err="1"/>
            <a:t>DeviceType</a:t>
          </a:r>
          <a:r>
            <a:rPr lang="en-US" dirty="0"/>
            <a:t> and </a:t>
          </a:r>
          <a:r>
            <a:rPr lang="en-US" dirty="0" err="1"/>
            <a:t>UsageHoursPerDay</a:t>
          </a:r>
          <a:r>
            <a:rPr lang="en-US" dirty="0"/>
            <a:t>.</a:t>
          </a:r>
          <a:endParaRPr lang="en-IN" dirty="0"/>
        </a:p>
      </dgm:t>
    </dgm:pt>
    <dgm:pt modelId="{E41F5B08-39F8-4B8D-A003-428EAB69D2AB}" type="parTrans" cxnId="{B1F69EFC-61BF-411E-AA4B-56DDECC0B4A2}">
      <dgm:prSet/>
      <dgm:spPr/>
      <dgm:t>
        <a:bodyPr/>
        <a:lstStyle/>
        <a:p>
          <a:endParaRPr lang="en-IN"/>
        </a:p>
      </dgm:t>
    </dgm:pt>
    <dgm:pt modelId="{602971A7-6942-478A-8F02-79057D0DBD38}" type="sibTrans" cxnId="{B1F69EFC-61BF-411E-AA4B-56DDECC0B4A2}">
      <dgm:prSet/>
      <dgm:spPr/>
      <dgm:t>
        <a:bodyPr/>
        <a:lstStyle/>
        <a:p>
          <a:endParaRPr lang="en-IN"/>
        </a:p>
      </dgm:t>
    </dgm:pt>
    <dgm:pt modelId="{10299688-FBF7-4D90-B3BA-64A79BE1149C}">
      <dgm:prSet/>
      <dgm:spPr/>
      <dgm:t>
        <a:bodyPr/>
        <a:lstStyle/>
        <a:p>
          <a:r>
            <a:rPr lang="en-IN" b="1" dirty="0"/>
            <a:t>Data Cleaning</a:t>
          </a:r>
        </a:p>
      </dgm:t>
    </dgm:pt>
    <dgm:pt modelId="{7A7A8756-5AA4-43A3-85D7-6B9E47C40002}" type="parTrans" cxnId="{219BA07F-24DC-460E-ADF8-85A092258B1D}">
      <dgm:prSet/>
      <dgm:spPr/>
      <dgm:t>
        <a:bodyPr/>
        <a:lstStyle/>
        <a:p>
          <a:endParaRPr lang="en-IN"/>
        </a:p>
      </dgm:t>
    </dgm:pt>
    <dgm:pt modelId="{1089DE88-B61C-4887-B653-99ABA1AC4EE6}" type="sibTrans" cxnId="{219BA07F-24DC-460E-ADF8-85A092258B1D}">
      <dgm:prSet/>
      <dgm:spPr/>
      <dgm:t>
        <a:bodyPr/>
        <a:lstStyle/>
        <a:p>
          <a:endParaRPr lang="en-IN"/>
        </a:p>
      </dgm:t>
    </dgm:pt>
    <dgm:pt modelId="{F1824065-013D-45F3-A555-A3E8F985DB02}">
      <dgm:prSet/>
      <dgm:spPr/>
      <dgm:t>
        <a:bodyPr/>
        <a:lstStyle/>
        <a:p>
          <a:endParaRPr lang="en-IN" dirty="0"/>
        </a:p>
      </dgm:t>
    </dgm:pt>
    <dgm:pt modelId="{70AA5D33-6401-48B6-8E04-A8D722142338}" type="parTrans" cxnId="{A5935D9D-FC7D-495F-9BCC-9F510EC27193}">
      <dgm:prSet/>
      <dgm:spPr/>
      <dgm:t>
        <a:bodyPr/>
        <a:lstStyle/>
        <a:p>
          <a:endParaRPr lang="en-IN"/>
        </a:p>
      </dgm:t>
    </dgm:pt>
    <dgm:pt modelId="{046619B2-0FB8-4605-A66B-A30DC10CB772}" type="sibTrans" cxnId="{A5935D9D-FC7D-495F-9BCC-9F510EC27193}">
      <dgm:prSet/>
      <dgm:spPr/>
      <dgm:t>
        <a:bodyPr/>
        <a:lstStyle/>
        <a:p>
          <a:endParaRPr lang="en-IN"/>
        </a:p>
      </dgm:t>
    </dgm:pt>
    <dgm:pt modelId="{EB7455B6-3BB5-4D99-9995-8C91D8A1A557}">
      <dgm:prSet/>
      <dgm:spPr/>
      <dgm:t>
        <a:bodyPr/>
        <a:lstStyle/>
        <a:p>
          <a:r>
            <a:rPr lang="en-IN" dirty="0"/>
            <a:t>Dropped irrelevant columns like user id .</a:t>
          </a:r>
        </a:p>
      </dgm:t>
    </dgm:pt>
    <dgm:pt modelId="{1D4E5062-4051-4697-A91A-FB32C4B60AA8}" type="parTrans" cxnId="{E5E9DE47-947B-4BFF-A329-7A9F6763EC1F}">
      <dgm:prSet/>
      <dgm:spPr/>
      <dgm:t>
        <a:bodyPr/>
        <a:lstStyle/>
        <a:p>
          <a:endParaRPr lang="en-IN"/>
        </a:p>
      </dgm:t>
    </dgm:pt>
    <dgm:pt modelId="{3EE3049B-2C81-4A2D-8236-40FB3005B748}" type="sibTrans" cxnId="{E5E9DE47-947B-4BFF-A329-7A9F6763EC1F}">
      <dgm:prSet/>
      <dgm:spPr/>
      <dgm:t>
        <a:bodyPr/>
        <a:lstStyle/>
        <a:p>
          <a:endParaRPr lang="en-IN"/>
        </a:p>
      </dgm:t>
    </dgm:pt>
    <dgm:pt modelId="{5AF1EA22-CBB9-49A0-A645-37831B0D191E}" type="pres">
      <dgm:prSet presAssocID="{0DF8222F-5471-48E1-A8ED-4BEE80065BBB}" presName="Name0" presStyleCnt="0">
        <dgm:presLayoutVars>
          <dgm:dir/>
          <dgm:animLvl val="lvl"/>
          <dgm:resizeHandles val="exact"/>
        </dgm:presLayoutVars>
      </dgm:prSet>
      <dgm:spPr/>
    </dgm:pt>
    <dgm:pt modelId="{1CD740EE-F08B-487B-8E4F-CDFF216E5D1C}" type="pres">
      <dgm:prSet presAssocID="{3BFB40F8-CC3E-4BAC-9BE6-0A53D71640E0}" presName="composite" presStyleCnt="0"/>
      <dgm:spPr/>
    </dgm:pt>
    <dgm:pt modelId="{DA91D6A1-11CD-4068-8BD4-E1A732D1952B}" type="pres">
      <dgm:prSet presAssocID="{3BFB40F8-CC3E-4BAC-9BE6-0A53D71640E0}" presName="parTx" presStyleLbl="alignNode1" presStyleIdx="0" presStyleCnt="3" custScaleX="115137">
        <dgm:presLayoutVars>
          <dgm:chMax val="0"/>
          <dgm:chPref val="0"/>
          <dgm:bulletEnabled val="1"/>
        </dgm:presLayoutVars>
      </dgm:prSet>
      <dgm:spPr/>
    </dgm:pt>
    <dgm:pt modelId="{3D223AFC-2EBA-4DEA-ACF0-22C0C72A64BE}" type="pres">
      <dgm:prSet presAssocID="{3BFB40F8-CC3E-4BAC-9BE6-0A53D71640E0}" presName="desTx" presStyleLbl="alignAccFollowNode1" presStyleIdx="0" presStyleCnt="3" custScaleX="115461">
        <dgm:presLayoutVars>
          <dgm:bulletEnabled val="1"/>
        </dgm:presLayoutVars>
      </dgm:prSet>
      <dgm:spPr/>
    </dgm:pt>
    <dgm:pt modelId="{E9B334E7-34FE-4423-92F6-77BEAAFFD972}" type="pres">
      <dgm:prSet presAssocID="{CC3FC16F-6B41-451B-90D1-87B1E024D596}" presName="space" presStyleCnt="0"/>
      <dgm:spPr/>
    </dgm:pt>
    <dgm:pt modelId="{C97497E2-5722-448A-887D-DE68EA017E09}" type="pres">
      <dgm:prSet presAssocID="{10299688-FBF7-4D90-B3BA-64A79BE1149C}" presName="composite" presStyleCnt="0"/>
      <dgm:spPr/>
    </dgm:pt>
    <dgm:pt modelId="{67B19E24-B723-48DC-B640-43429A84723C}" type="pres">
      <dgm:prSet presAssocID="{10299688-FBF7-4D90-B3BA-64A79BE1149C}" presName="parTx" presStyleLbl="alignNode1" presStyleIdx="1" presStyleCnt="3">
        <dgm:presLayoutVars>
          <dgm:chMax val="0"/>
          <dgm:chPref val="0"/>
          <dgm:bulletEnabled val="1"/>
        </dgm:presLayoutVars>
      </dgm:prSet>
      <dgm:spPr/>
    </dgm:pt>
    <dgm:pt modelId="{211938FD-4188-47A2-83FD-586905BDCD5B}" type="pres">
      <dgm:prSet presAssocID="{10299688-FBF7-4D90-B3BA-64A79BE1149C}" presName="desTx" presStyleLbl="alignAccFollowNode1" presStyleIdx="1" presStyleCnt="3">
        <dgm:presLayoutVars>
          <dgm:bulletEnabled val="1"/>
        </dgm:presLayoutVars>
      </dgm:prSet>
      <dgm:spPr/>
    </dgm:pt>
    <dgm:pt modelId="{EB6ADDB6-E60D-49F0-8CE7-BE6F50C10A06}" type="pres">
      <dgm:prSet presAssocID="{1089DE88-B61C-4887-B653-99ABA1AC4EE6}" presName="space" presStyleCnt="0"/>
      <dgm:spPr/>
    </dgm:pt>
    <dgm:pt modelId="{CCDDA48A-CF49-4E63-B49B-B3D8D00A49FF}" type="pres">
      <dgm:prSet presAssocID="{F21AC287-B14D-40E4-9075-4B8D723F317E}" presName="composite" presStyleCnt="0"/>
      <dgm:spPr/>
    </dgm:pt>
    <dgm:pt modelId="{3615B173-DC68-4815-91EB-4D908F351DB7}" type="pres">
      <dgm:prSet presAssocID="{F21AC287-B14D-40E4-9075-4B8D723F317E}" presName="parTx" presStyleLbl="alignNode1" presStyleIdx="2" presStyleCnt="3">
        <dgm:presLayoutVars>
          <dgm:chMax val="0"/>
          <dgm:chPref val="0"/>
          <dgm:bulletEnabled val="1"/>
        </dgm:presLayoutVars>
      </dgm:prSet>
      <dgm:spPr/>
    </dgm:pt>
    <dgm:pt modelId="{93DD3026-4235-43A6-A006-754051FE3B63}" type="pres">
      <dgm:prSet presAssocID="{F21AC287-B14D-40E4-9075-4B8D723F317E}" presName="desTx" presStyleLbl="alignAccFollowNode1" presStyleIdx="2" presStyleCnt="3">
        <dgm:presLayoutVars>
          <dgm:bulletEnabled val="1"/>
        </dgm:presLayoutVars>
      </dgm:prSet>
      <dgm:spPr/>
    </dgm:pt>
  </dgm:ptLst>
  <dgm:cxnLst>
    <dgm:cxn modelId="{DD77812D-0C4F-416F-8B78-E462FB597ECF}" srcId="{0DF8222F-5471-48E1-A8ED-4BEE80065BBB}" destId="{3BFB40F8-CC3E-4BAC-9BE6-0A53D71640E0}" srcOrd="0" destOrd="0" parTransId="{AB08CF31-47BB-4C81-9D8F-6C604982CF0F}" sibTransId="{CC3FC16F-6B41-451B-90D1-87B1E024D596}"/>
    <dgm:cxn modelId="{2131D038-4E0D-461B-A57F-A853EC5374A1}" srcId="{3BFB40F8-CC3E-4BAC-9BE6-0A53D71640E0}" destId="{48587C43-9B5A-41D3-8F12-EAB464411FB3}" srcOrd="0" destOrd="0" parTransId="{90DFEFA0-9FDE-425B-8019-6E5983CA5443}" sibTransId="{4667FDF2-801F-4478-BF31-AA6BC1A8461F}"/>
    <dgm:cxn modelId="{83E89A60-84AF-4524-8614-EEC2614006FC}" srcId="{0DF8222F-5471-48E1-A8ED-4BEE80065BBB}" destId="{F21AC287-B14D-40E4-9075-4B8D723F317E}" srcOrd="2" destOrd="0" parTransId="{F5CE41E9-390D-4F07-BA78-511A8E062820}" sibTransId="{F47E2A06-6D2C-4496-A790-12A3A2D4D38C}"/>
    <dgm:cxn modelId="{E5E9DE47-947B-4BFF-A329-7A9F6763EC1F}" srcId="{10299688-FBF7-4D90-B3BA-64A79BE1149C}" destId="{EB7455B6-3BB5-4D99-9995-8C91D8A1A557}" srcOrd="0" destOrd="0" parTransId="{1D4E5062-4051-4697-A91A-FB32C4B60AA8}" sibTransId="{3EE3049B-2C81-4A2D-8236-40FB3005B748}"/>
    <dgm:cxn modelId="{F53DC66A-95DD-4692-A9E0-0B29B1D9F7D5}" type="presOf" srcId="{10299688-FBF7-4D90-B3BA-64A79BE1149C}" destId="{67B19E24-B723-48DC-B640-43429A84723C}" srcOrd="0" destOrd="0" presId="urn:microsoft.com/office/officeart/2005/8/layout/hList1"/>
    <dgm:cxn modelId="{15360C4B-F8B7-495C-ABDB-A9B98700A102}" srcId="{3BFB40F8-CC3E-4BAC-9BE6-0A53D71640E0}" destId="{C7B87F86-D58C-4C58-8D46-8E2BAF145C7D}" srcOrd="1" destOrd="0" parTransId="{05EF4014-81F5-4BB3-984F-53A42703A30C}" sibTransId="{C3E486DB-0F69-472A-8140-9B972202075B}"/>
    <dgm:cxn modelId="{B773F66D-F20E-4DCB-8CF3-9A396B3224FB}" type="presOf" srcId="{EB7455B6-3BB5-4D99-9995-8C91D8A1A557}" destId="{211938FD-4188-47A2-83FD-586905BDCD5B}" srcOrd="0" destOrd="0" presId="urn:microsoft.com/office/officeart/2005/8/layout/hList1"/>
    <dgm:cxn modelId="{299FAA78-D855-47D6-A936-F43315109A4A}" type="presOf" srcId="{F1824065-013D-45F3-A555-A3E8F985DB02}" destId="{211938FD-4188-47A2-83FD-586905BDCD5B}" srcOrd="0" destOrd="1" presId="urn:microsoft.com/office/officeart/2005/8/layout/hList1"/>
    <dgm:cxn modelId="{BC390D7F-D032-4C91-8EF4-D0273EFD6FB2}" type="presOf" srcId="{598D63F3-C39E-460B-939F-5C1F8A3F4D42}" destId="{3D223AFC-2EBA-4DEA-ACF0-22C0C72A64BE}" srcOrd="0" destOrd="2" presId="urn:microsoft.com/office/officeart/2005/8/layout/hList1"/>
    <dgm:cxn modelId="{219BA07F-24DC-460E-ADF8-85A092258B1D}" srcId="{0DF8222F-5471-48E1-A8ED-4BEE80065BBB}" destId="{10299688-FBF7-4D90-B3BA-64A79BE1149C}" srcOrd="1" destOrd="0" parTransId="{7A7A8756-5AA4-43A3-85D7-6B9E47C40002}" sibTransId="{1089DE88-B61C-4887-B653-99ABA1AC4EE6}"/>
    <dgm:cxn modelId="{A5935D9D-FC7D-495F-9BCC-9F510EC27193}" srcId="{10299688-FBF7-4D90-B3BA-64A79BE1149C}" destId="{F1824065-013D-45F3-A555-A3E8F985DB02}" srcOrd="1" destOrd="0" parTransId="{70AA5D33-6401-48B6-8E04-A8D722142338}" sibTransId="{046619B2-0FB8-4605-A66B-A30DC10CB772}"/>
    <dgm:cxn modelId="{4C2A1CAD-8F97-44AE-9C7D-AEB59CC1FC7B}" type="presOf" srcId="{0DF8222F-5471-48E1-A8ED-4BEE80065BBB}" destId="{5AF1EA22-CBB9-49A0-A645-37831B0D191E}" srcOrd="0" destOrd="0" presId="urn:microsoft.com/office/officeart/2005/8/layout/hList1"/>
    <dgm:cxn modelId="{25C79AB3-0CCF-49DD-932E-88F54D5E50B1}" type="presOf" srcId="{3BFB40F8-CC3E-4BAC-9BE6-0A53D71640E0}" destId="{DA91D6A1-11CD-4068-8BD4-E1A732D1952B}" srcOrd="0" destOrd="0" presId="urn:microsoft.com/office/officeart/2005/8/layout/hList1"/>
    <dgm:cxn modelId="{A94BB7C2-6F20-4F43-9F6D-CC1A34B3CFA6}" type="presOf" srcId="{C7B87F86-D58C-4C58-8D46-8E2BAF145C7D}" destId="{3D223AFC-2EBA-4DEA-ACF0-22C0C72A64BE}" srcOrd="0" destOrd="1" presId="urn:microsoft.com/office/officeart/2005/8/layout/hList1"/>
    <dgm:cxn modelId="{965DD5C2-A7ED-41E8-8BF3-CB538F44A2E7}" type="presOf" srcId="{3EC044E6-0429-4024-A261-0F4E0EF1BCCA}" destId="{93DD3026-4235-43A6-A006-754051FE3B63}" srcOrd="0" destOrd="0" presId="urn:microsoft.com/office/officeart/2005/8/layout/hList1"/>
    <dgm:cxn modelId="{33E48EE6-4F89-4E2C-A654-ED63DA13E0B6}" srcId="{F21AC287-B14D-40E4-9075-4B8D723F317E}" destId="{3EC044E6-0429-4024-A261-0F4E0EF1BCCA}" srcOrd="0" destOrd="0" parTransId="{25B9787E-A867-4241-B0D6-4B52CA557E0E}" sibTransId="{0B26743C-C1B7-4529-9FC6-C916BFD07112}"/>
    <dgm:cxn modelId="{CB87BCF9-1247-4C20-A5E3-E2F0737CF8FA}" type="presOf" srcId="{F21AC287-B14D-40E4-9075-4B8D723F317E}" destId="{3615B173-DC68-4815-91EB-4D908F351DB7}" srcOrd="0" destOrd="0" presId="urn:microsoft.com/office/officeart/2005/8/layout/hList1"/>
    <dgm:cxn modelId="{A620B6FA-78A9-499C-BF17-7FDD1A933EB7}" type="presOf" srcId="{48587C43-9B5A-41D3-8F12-EAB464411FB3}" destId="{3D223AFC-2EBA-4DEA-ACF0-22C0C72A64BE}" srcOrd="0" destOrd="0" presId="urn:microsoft.com/office/officeart/2005/8/layout/hList1"/>
    <dgm:cxn modelId="{B1F69EFC-61BF-411E-AA4B-56DDECC0B4A2}" srcId="{3BFB40F8-CC3E-4BAC-9BE6-0A53D71640E0}" destId="{598D63F3-C39E-460B-939F-5C1F8A3F4D42}" srcOrd="2" destOrd="0" parTransId="{E41F5B08-39F8-4B8D-A003-428EAB69D2AB}" sibTransId="{602971A7-6942-478A-8F02-79057D0DBD38}"/>
    <dgm:cxn modelId="{FB278000-B7CE-4764-9F61-C125722746CD}" type="presParOf" srcId="{5AF1EA22-CBB9-49A0-A645-37831B0D191E}" destId="{1CD740EE-F08B-487B-8E4F-CDFF216E5D1C}" srcOrd="0" destOrd="0" presId="urn:microsoft.com/office/officeart/2005/8/layout/hList1"/>
    <dgm:cxn modelId="{2EB2D77E-B6B2-455A-882C-CC5B3655E48B}" type="presParOf" srcId="{1CD740EE-F08B-487B-8E4F-CDFF216E5D1C}" destId="{DA91D6A1-11CD-4068-8BD4-E1A732D1952B}" srcOrd="0" destOrd="0" presId="urn:microsoft.com/office/officeart/2005/8/layout/hList1"/>
    <dgm:cxn modelId="{BB1485B3-CC75-40E7-B9C6-F8E5BF466AC0}" type="presParOf" srcId="{1CD740EE-F08B-487B-8E4F-CDFF216E5D1C}" destId="{3D223AFC-2EBA-4DEA-ACF0-22C0C72A64BE}" srcOrd="1" destOrd="0" presId="urn:microsoft.com/office/officeart/2005/8/layout/hList1"/>
    <dgm:cxn modelId="{7E0390C1-034B-4514-B1CF-AE6E703AEC41}" type="presParOf" srcId="{5AF1EA22-CBB9-49A0-A645-37831B0D191E}" destId="{E9B334E7-34FE-4423-92F6-77BEAAFFD972}" srcOrd="1" destOrd="0" presId="urn:microsoft.com/office/officeart/2005/8/layout/hList1"/>
    <dgm:cxn modelId="{3C7125A0-D457-4A18-90E1-D75943FC50FD}" type="presParOf" srcId="{5AF1EA22-CBB9-49A0-A645-37831B0D191E}" destId="{C97497E2-5722-448A-887D-DE68EA017E09}" srcOrd="2" destOrd="0" presId="urn:microsoft.com/office/officeart/2005/8/layout/hList1"/>
    <dgm:cxn modelId="{2AF972D0-86D7-484B-BB86-5F7D799F64F7}" type="presParOf" srcId="{C97497E2-5722-448A-887D-DE68EA017E09}" destId="{67B19E24-B723-48DC-B640-43429A84723C}" srcOrd="0" destOrd="0" presId="urn:microsoft.com/office/officeart/2005/8/layout/hList1"/>
    <dgm:cxn modelId="{B54D48DA-99E5-4302-9DB2-DE9AD16ABB68}" type="presParOf" srcId="{C97497E2-5722-448A-887D-DE68EA017E09}" destId="{211938FD-4188-47A2-83FD-586905BDCD5B}" srcOrd="1" destOrd="0" presId="urn:microsoft.com/office/officeart/2005/8/layout/hList1"/>
    <dgm:cxn modelId="{3074D076-A101-47BA-BD8C-BD5888981AAC}" type="presParOf" srcId="{5AF1EA22-CBB9-49A0-A645-37831B0D191E}" destId="{EB6ADDB6-E60D-49F0-8CE7-BE6F50C10A06}" srcOrd="3" destOrd="0" presId="urn:microsoft.com/office/officeart/2005/8/layout/hList1"/>
    <dgm:cxn modelId="{B13DBADD-9103-41CC-AC1D-D9AA26B73E31}" type="presParOf" srcId="{5AF1EA22-CBB9-49A0-A645-37831B0D191E}" destId="{CCDDA48A-CF49-4E63-B49B-B3D8D00A49FF}" srcOrd="4" destOrd="0" presId="urn:microsoft.com/office/officeart/2005/8/layout/hList1"/>
    <dgm:cxn modelId="{C35FD4A7-16FC-4799-AD37-DFC775B5E30E}" type="presParOf" srcId="{CCDDA48A-CF49-4E63-B49B-B3D8D00A49FF}" destId="{3615B173-DC68-4815-91EB-4D908F351DB7}" srcOrd="0" destOrd="0" presId="urn:microsoft.com/office/officeart/2005/8/layout/hList1"/>
    <dgm:cxn modelId="{87869F7E-A8B3-4955-92BC-9B83A6F5D5DA}" type="presParOf" srcId="{CCDDA48A-CF49-4E63-B49B-B3D8D00A49FF}" destId="{93DD3026-4235-43A6-A006-754051FE3B6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566DF7-9D0F-42B0-95B5-02300933E1E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272B89CF-80A6-424E-B3EE-DD9EC9FF91E5}">
      <dgm:prSet phldrT="[Text]"/>
      <dgm:spPr/>
      <dgm:t>
        <a:bodyPr/>
        <a:lstStyle/>
        <a:p>
          <a:r>
            <a:rPr lang="en-IN" dirty="0"/>
            <a:t>User centric </a:t>
          </a:r>
          <a:r>
            <a:rPr lang="en-IN" dirty="0" err="1"/>
            <a:t>streamlit</a:t>
          </a:r>
          <a:r>
            <a:rPr lang="en-IN" dirty="0"/>
            <a:t> design</a:t>
          </a:r>
        </a:p>
      </dgm:t>
    </dgm:pt>
    <dgm:pt modelId="{7491F6CC-F365-48C0-AA84-6C4ECDAC05FB}" type="parTrans" cxnId="{5D76FE8C-28C3-429C-9562-00051DB37C8D}">
      <dgm:prSet/>
      <dgm:spPr/>
      <dgm:t>
        <a:bodyPr/>
        <a:lstStyle/>
        <a:p>
          <a:endParaRPr lang="en-IN"/>
        </a:p>
      </dgm:t>
    </dgm:pt>
    <dgm:pt modelId="{BC0783D2-FDE6-4254-97A4-5455E6A6CF1A}" type="sibTrans" cxnId="{5D76FE8C-28C3-429C-9562-00051DB37C8D}">
      <dgm:prSet/>
      <dgm:spPr/>
      <dgm:t>
        <a:bodyPr/>
        <a:lstStyle/>
        <a:p>
          <a:endParaRPr lang="en-IN"/>
        </a:p>
      </dgm:t>
    </dgm:pt>
    <dgm:pt modelId="{E8CDD278-A37C-4925-A886-33E585356BA1}">
      <dgm:prSet phldrT="[Text]"/>
      <dgm:spPr/>
      <dgm:t>
        <a:bodyPr/>
        <a:lstStyle/>
        <a:p>
          <a:r>
            <a:rPr lang="en-IN" dirty="0"/>
            <a:t>User friendly interface which allows easy navigation</a:t>
          </a:r>
        </a:p>
      </dgm:t>
    </dgm:pt>
    <dgm:pt modelId="{629E5B6D-7ADB-45A1-A20D-9C15360DEEB1}" type="parTrans" cxnId="{EF18AC93-2672-477A-8FE9-03ED5C3AFB9F}">
      <dgm:prSet/>
      <dgm:spPr/>
      <dgm:t>
        <a:bodyPr/>
        <a:lstStyle/>
        <a:p>
          <a:endParaRPr lang="en-IN"/>
        </a:p>
      </dgm:t>
    </dgm:pt>
    <dgm:pt modelId="{8790112F-EA12-4164-AEB3-B9F3D9A1A7B9}" type="sibTrans" cxnId="{EF18AC93-2672-477A-8FE9-03ED5C3AFB9F}">
      <dgm:prSet/>
      <dgm:spPr/>
      <dgm:t>
        <a:bodyPr/>
        <a:lstStyle/>
        <a:p>
          <a:endParaRPr lang="en-IN"/>
        </a:p>
      </dgm:t>
    </dgm:pt>
    <dgm:pt modelId="{C491B81A-C670-4215-9E64-BCCADA3C2875}">
      <dgm:prSet phldrT="[Text]"/>
      <dgm:spPr/>
      <dgm:t>
        <a:bodyPr/>
        <a:lstStyle/>
        <a:p>
          <a:r>
            <a:rPr lang="en-IN" dirty="0"/>
            <a:t>Accessibility features </a:t>
          </a:r>
        </a:p>
      </dgm:t>
    </dgm:pt>
    <dgm:pt modelId="{809F4AEC-5C79-4F00-8A14-E18BDE25B44E}" type="parTrans" cxnId="{7BE4AE80-D15E-4DBB-968A-63CCE46B37D5}">
      <dgm:prSet/>
      <dgm:spPr/>
      <dgm:t>
        <a:bodyPr/>
        <a:lstStyle/>
        <a:p>
          <a:endParaRPr lang="en-IN"/>
        </a:p>
      </dgm:t>
    </dgm:pt>
    <dgm:pt modelId="{D85EE4D7-943D-4485-8777-85E32F8486B0}" type="sibTrans" cxnId="{7BE4AE80-D15E-4DBB-968A-63CCE46B37D5}">
      <dgm:prSet/>
      <dgm:spPr/>
      <dgm:t>
        <a:bodyPr/>
        <a:lstStyle/>
        <a:p>
          <a:endParaRPr lang="en-IN"/>
        </a:p>
      </dgm:t>
    </dgm:pt>
    <dgm:pt modelId="{5911A309-AC21-415E-B396-6E1AC1C11C19}">
      <dgm:prSet phldrT="[Text]"/>
      <dgm:spPr/>
      <dgm:t>
        <a:bodyPr/>
        <a:lstStyle/>
        <a:p>
          <a:r>
            <a:rPr lang="en-IN" dirty="0"/>
            <a:t>Good colour contrast and font size</a:t>
          </a:r>
        </a:p>
      </dgm:t>
    </dgm:pt>
    <dgm:pt modelId="{EF018BD9-DCDB-4FCB-9D24-47F23157E328}" type="parTrans" cxnId="{00D24D15-FA50-412C-BBD2-D51CD14D0E50}">
      <dgm:prSet/>
      <dgm:spPr/>
      <dgm:t>
        <a:bodyPr/>
        <a:lstStyle/>
        <a:p>
          <a:endParaRPr lang="en-IN"/>
        </a:p>
      </dgm:t>
    </dgm:pt>
    <dgm:pt modelId="{338CA504-F655-4338-A708-4072DAD2B891}" type="sibTrans" cxnId="{00D24D15-FA50-412C-BBD2-D51CD14D0E50}">
      <dgm:prSet/>
      <dgm:spPr/>
      <dgm:t>
        <a:bodyPr/>
        <a:lstStyle/>
        <a:p>
          <a:endParaRPr lang="en-IN"/>
        </a:p>
      </dgm:t>
    </dgm:pt>
    <dgm:pt modelId="{9DF788A0-3CD6-4ED8-9A1B-1B9D50B80458}">
      <dgm:prSet phldrT="[Text]"/>
      <dgm:spPr/>
      <dgm:t>
        <a:bodyPr/>
        <a:lstStyle/>
        <a:p>
          <a:r>
            <a:rPr lang="en-IN" dirty="0"/>
            <a:t>Clear Visualizations </a:t>
          </a:r>
        </a:p>
      </dgm:t>
    </dgm:pt>
    <dgm:pt modelId="{F2D13DBF-213C-4D32-A686-2C2A7EA8FFEF}" type="parTrans" cxnId="{349381BB-D58F-4019-A160-EC89A1B87072}">
      <dgm:prSet/>
      <dgm:spPr/>
      <dgm:t>
        <a:bodyPr/>
        <a:lstStyle/>
        <a:p>
          <a:endParaRPr lang="en-IN"/>
        </a:p>
      </dgm:t>
    </dgm:pt>
    <dgm:pt modelId="{B11E0F7B-B90A-4852-BB21-E7E708AB6A66}" type="sibTrans" cxnId="{349381BB-D58F-4019-A160-EC89A1B87072}">
      <dgm:prSet/>
      <dgm:spPr/>
      <dgm:t>
        <a:bodyPr/>
        <a:lstStyle/>
        <a:p>
          <a:endParaRPr lang="en-IN"/>
        </a:p>
      </dgm:t>
    </dgm:pt>
    <dgm:pt modelId="{E8182651-80E8-4490-9933-98887A048E16}">
      <dgm:prSet/>
      <dgm:spPr/>
      <dgm:t>
        <a:bodyPr/>
        <a:lstStyle/>
        <a:p>
          <a:r>
            <a:rPr lang="en-IN" dirty="0"/>
            <a:t>Presenting data in an understandable manner </a:t>
          </a:r>
        </a:p>
      </dgm:t>
    </dgm:pt>
    <dgm:pt modelId="{A16908B8-4165-485C-84A9-85AC88A74436}" type="parTrans" cxnId="{6E498C72-1805-43C6-B00B-60E1134D79E8}">
      <dgm:prSet/>
      <dgm:spPr/>
      <dgm:t>
        <a:bodyPr/>
        <a:lstStyle/>
        <a:p>
          <a:endParaRPr lang="en-IN"/>
        </a:p>
      </dgm:t>
    </dgm:pt>
    <dgm:pt modelId="{DF7BD687-46D3-4F71-8C59-DD08FA471856}" type="sibTrans" cxnId="{6E498C72-1805-43C6-B00B-60E1134D79E8}">
      <dgm:prSet/>
      <dgm:spPr/>
      <dgm:t>
        <a:bodyPr/>
        <a:lstStyle/>
        <a:p>
          <a:endParaRPr lang="en-IN"/>
        </a:p>
      </dgm:t>
    </dgm:pt>
    <dgm:pt modelId="{DD523050-C125-49AC-AAD9-EFD0B482BAE2}" type="pres">
      <dgm:prSet presAssocID="{BF566DF7-9D0F-42B0-95B5-02300933E1E1}" presName="Name0" presStyleCnt="0">
        <dgm:presLayoutVars>
          <dgm:dir/>
          <dgm:animLvl val="lvl"/>
          <dgm:resizeHandles val="exact"/>
        </dgm:presLayoutVars>
      </dgm:prSet>
      <dgm:spPr/>
    </dgm:pt>
    <dgm:pt modelId="{E859D7B9-472C-4969-A8C7-88FAB668C3DD}" type="pres">
      <dgm:prSet presAssocID="{272B89CF-80A6-424E-B3EE-DD9EC9FF91E5}" presName="composite" presStyleCnt="0"/>
      <dgm:spPr/>
    </dgm:pt>
    <dgm:pt modelId="{18C82C3D-6326-4BC2-9900-6FCD9DCF66BC}" type="pres">
      <dgm:prSet presAssocID="{272B89CF-80A6-424E-B3EE-DD9EC9FF91E5}" presName="parTx" presStyleLbl="alignNode1" presStyleIdx="0" presStyleCnt="3">
        <dgm:presLayoutVars>
          <dgm:chMax val="0"/>
          <dgm:chPref val="0"/>
          <dgm:bulletEnabled val="1"/>
        </dgm:presLayoutVars>
      </dgm:prSet>
      <dgm:spPr/>
    </dgm:pt>
    <dgm:pt modelId="{D68DCCAA-D76B-4623-9C18-A255C6358BE1}" type="pres">
      <dgm:prSet presAssocID="{272B89CF-80A6-424E-B3EE-DD9EC9FF91E5}" presName="desTx" presStyleLbl="alignAccFollowNode1" presStyleIdx="0" presStyleCnt="3">
        <dgm:presLayoutVars>
          <dgm:bulletEnabled val="1"/>
        </dgm:presLayoutVars>
      </dgm:prSet>
      <dgm:spPr/>
    </dgm:pt>
    <dgm:pt modelId="{D64FCB79-B56B-438E-AE21-1F25065C94E2}" type="pres">
      <dgm:prSet presAssocID="{BC0783D2-FDE6-4254-97A4-5455E6A6CF1A}" presName="space" presStyleCnt="0"/>
      <dgm:spPr/>
    </dgm:pt>
    <dgm:pt modelId="{43D03738-6CA8-4564-A285-56360F73EB63}" type="pres">
      <dgm:prSet presAssocID="{C491B81A-C670-4215-9E64-BCCADA3C2875}" presName="composite" presStyleCnt="0"/>
      <dgm:spPr/>
    </dgm:pt>
    <dgm:pt modelId="{E9C227DB-6531-46DC-8666-3CEEAA788992}" type="pres">
      <dgm:prSet presAssocID="{C491B81A-C670-4215-9E64-BCCADA3C2875}" presName="parTx" presStyleLbl="alignNode1" presStyleIdx="1" presStyleCnt="3">
        <dgm:presLayoutVars>
          <dgm:chMax val="0"/>
          <dgm:chPref val="0"/>
          <dgm:bulletEnabled val="1"/>
        </dgm:presLayoutVars>
      </dgm:prSet>
      <dgm:spPr/>
    </dgm:pt>
    <dgm:pt modelId="{DD8E226E-4038-4D72-AD67-5AE91D8728EF}" type="pres">
      <dgm:prSet presAssocID="{C491B81A-C670-4215-9E64-BCCADA3C2875}" presName="desTx" presStyleLbl="alignAccFollowNode1" presStyleIdx="1" presStyleCnt="3">
        <dgm:presLayoutVars>
          <dgm:bulletEnabled val="1"/>
        </dgm:presLayoutVars>
      </dgm:prSet>
      <dgm:spPr/>
    </dgm:pt>
    <dgm:pt modelId="{8026C059-3DE9-46FE-87D9-64A1AABB3486}" type="pres">
      <dgm:prSet presAssocID="{D85EE4D7-943D-4485-8777-85E32F8486B0}" presName="space" presStyleCnt="0"/>
      <dgm:spPr/>
    </dgm:pt>
    <dgm:pt modelId="{B862E705-1916-427D-972B-D411771C3905}" type="pres">
      <dgm:prSet presAssocID="{9DF788A0-3CD6-4ED8-9A1B-1B9D50B80458}" presName="composite" presStyleCnt="0"/>
      <dgm:spPr/>
    </dgm:pt>
    <dgm:pt modelId="{03001F4A-42EB-4C1E-94DC-A2D074844536}" type="pres">
      <dgm:prSet presAssocID="{9DF788A0-3CD6-4ED8-9A1B-1B9D50B80458}" presName="parTx" presStyleLbl="alignNode1" presStyleIdx="2" presStyleCnt="3">
        <dgm:presLayoutVars>
          <dgm:chMax val="0"/>
          <dgm:chPref val="0"/>
          <dgm:bulletEnabled val="1"/>
        </dgm:presLayoutVars>
      </dgm:prSet>
      <dgm:spPr/>
    </dgm:pt>
    <dgm:pt modelId="{E32EE3E5-906A-420F-85B2-1320809C07C0}" type="pres">
      <dgm:prSet presAssocID="{9DF788A0-3CD6-4ED8-9A1B-1B9D50B80458}" presName="desTx" presStyleLbl="alignAccFollowNode1" presStyleIdx="2" presStyleCnt="3">
        <dgm:presLayoutVars>
          <dgm:bulletEnabled val="1"/>
        </dgm:presLayoutVars>
      </dgm:prSet>
      <dgm:spPr/>
    </dgm:pt>
  </dgm:ptLst>
  <dgm:cxnLst>
    <dgm:cxn modelId="{00D24D15-FA50-412C-BBD2-D51CD14D0E50}" srcId="{C491B81A-C670-4215-9E64-BCCADA3C2875}" destId="{5911A309-AC21-415E-B396-6E1AC1C11C19}" srcOrd="0" destOrd="0" parTransId="{EF018BD9-DCDB-4FCB-9D24-47F23157E328}" sibTransId="{338CA504-F655-4338-A708-4072DAD2B891}"/>
    <dgm:cxn modelId="{4BC5AA24-F883-41E0-9DEC-9420DB7AE535}" type="presOf" srcId="{E8182651-80E8-4490-9933-98887A048E16}" destId="{E32EE3E5-906A-420F-85B2-1320809C07C0}" srcOrd="0" destOrd="0" presId="urn:microsoft.com/office/officeart/2005/8/layout/hList1"/>
    <dgm:cxn modelId="{63EB0E4E-C480-460F-ACFE-585029782FA9}" type="presOf" srcId="{272B89CF-80A6-424E-B3EE-DD9EC9FF91E5}" destId="{18C82C3D-6326-4BC2-9900-6FCD9DCF66BC}" srcOrd="0" destOrd="0" presId="urn:microsoft.com/office/officeart/2005/8/layout/hList1"/>
    <dgm:cxn modelId="{76C1C94E-E2F4-4FED-9144-F6EBDC82BF8C}" type="presOf" srcId="{5911A309-AC21-415E-B396-6E1AC1C11C19}" destId="{DD8E226E-4038-4D72-AD67-5AE91D8728EF}" srcOrd="0" destOrd="0" presId="urn:microsoft.com/office/officeart/2005/8/layout/hList1"/>
    <dgm:cxn modelId="{6E498C72-1805-43C6-B00B-60E1134D79E8}" srcId="{9DF788A0-3CD6-4ED8-9A1B-1B9D50B80458}" destId="{E8182651-80E8-4490-9933-98887A048E16}" srcOrd="0" destOrd="0" parTransId="{A16908B8-4165-485C-84A9-85AC88A74436}" sibTransId="{DF7BD687-46D3-4F71-8C59-DD08FA471856}"/>
    <dgm:cxn modelId="{7BE4AE80-D15E-4DBB-968A-63CCE46B37D5}" srcId="{BF566DF7-9D0F-42B0-95B5-02300933E1E1}" destId="{C491B81A-C670-4215-9E64-BCCADA3C2875}" srcOrd="1" destOrd="0" parTransId="{809F4AEC-5C79-4F00-8A14-E18BDE25B44E}" sibTransId="{D85EE4D7-943D-4485-8777-85E32F8486B0}"/>
    <dgm:cxn modelId="{5D76FE8C-28C3-429C-9562-00051DB37C8D}" srcId="{BF566DF7-9D0F-42B0-95B5-02300933E1E1}" destId="{272B89CF-80A6-424E-B3EE-DD9EC9FF91E5}" srcOrd="0" destOrd="0" parTransId="{7491F6CC-F365-48C0-AA84-6C4ECDAC05FB}" sibTransId="{BC0783D2-FDE6-4254-97A4-5455E6A6CF1A}"/>
    <dgm:cxn modelId="{EF18AC93-2672-477A-8FE9-03ED5C3AFB9F}" srcId="{272B89CF-80A6-424E-B3EE-DD9EC9FF91E5}" destId="{E8CDD278-A37C-4925-A886-33E585356BA1}" srcOrd="0" destOrd="0" parTransId="{629E5B6D-7ADB-45A1-A20D-9C15360DEEB1}" sibTransId="{8790112F-EA12-4164-AEB3-B9F3D9A1A7B9}"/>
    <dgm:cxn modelId="{80A63B9B-D654-4AB8-981E-164706DC715A}" type="presOf" srcId="{C491B81A-C670-4215-9E64-BCCADA3C2875}" destId="{E9C227DB-6531-46DC-8666-3CEEAA788992}" srcOrd="0" destOrd="0" presId="urn:microsoft.com/office/officeart/2005/8/layout/hList1"/>
    <dgm:cxn modelId="{831B839C-AE46-4863-9A55-D6354812EACF}" type="presOf" srcId="{9DF788A0-3CD6-4ED8-9A1B-1B9D50B80458}" destId="{03001F4A-42EB-4C1E-94DC-A2D074844536}" srcOrd="0" destOrd="0" presId="urn:microsoft.com/office/officeart/2005/8/layout/hList1"/>
    <dgm:cxn modelId="{349381BB-D58F-4019-A160-EC89A1B87072}" srcId="{BF566DF7-9D0F-42B0-95B5-02300933E1E1}" destId="{9DF788A0-3CD6-4ED8-9A1B-1B9D50B80458}" srcOrd="2" destOrd="0" parTransId="{F2D13DBF-213C-4D32-A686-2C2A7EA8FFEF}" sibTransId="{B11E0F7B-B90A-4852-BB21-E7E708AB6A66}"/>
    <dgm:cxn modelId="{92DF95F4-18F9-471D-BA21-0AE286F9C8D4}" type="presOf" srcId="{BF566DF7-9D0F-42B0-95B5-02300933E1E1}" destId="{DD523050-C125-49AC-AAD9-EFD0B482BAE2}" srcOrd="0" destOrd="0" presId="urn:microsoft.com/office/officeart/2005/8/layout/hList1"/>
    <dgm:cxn modelId="{1186EFF5-47D1-4B34-911C-EDAC02D1FCCB}" type="presOf" srcId="{E8CDD278-A37C-4925-A886-33E585356BA1}" destId="{D68DCCAA-D76B-4623-9C18-A255C6358BE1}" srcOrd="0" destOrd="0" presId="urn:microsoft.com/office/officeart/2005/8/layout/hList1"/>
    <dgm:cxn modelId="{9FC307B9-A285-4C8A-977C-584E6F7A26E9}" type="presParOf" srcId="{DD523050-C125-49AC-AAD9-EFD0B482BAE2}" destId="{E859D7B9-472C-4969-A8C7-88FAB668C3DD}" srcOrd="0" destOrd="0" presId="urn:microsoft.com/office/officeart/2005/8/layout/hList1"/>
    <dgm:cxn modelId="{C4ABD93E-DBF9-4D55-BCD7-6D16A1E56C4C}" type="presParOf" srcId="{E859D7B9-472C-4969-A8C7-88FAB668C3DD}" destId="{18C82C3D-6326-4BC2-9900-6FCD9DCF66BC}" srcOrd="0" destOrd="0" presId="urn:microsoft.com/office/officeart/2005/8/layout/hList1"/>
    <dgm:cxn modelId="{82B0F2A9-27D1-41D0-B444-61C2A551F3DD}" type="presParOf" srcId="{E859D7B9-472C-4969-A8C7-88FAB668C3DD}" destId="{D68DCCAA-D76B-4623-9C18-A255C6358BE1}" srcOrd="1" destOrd="0" presId="urn:microsoft.com/office/officeart/2005/8/layout/hList1"/>
    <dgm:cxn modelId="{31B46DE4-6642-4EC1-807C-32CD1147B7A4}" type="presParOf" srcId="{DD523050-C125-49AC-AAD9-EFD0B482BAE2}" destId="{D64FCB79-B56B-438E-AE21-1F25065C94E2}" srcOrd="1" destOrd="0" presId="urn:microsoft.com/office/officeart/2005/8/layout/hList1"/>
    <dgm:cxn modelId="{BD426349-876D-44E3-9128-F1595B7B91FB}" type="presParOf" srcId="{DD523050-C125-49AC-AAD9-EFD0B482BAE2}" destId="{43D03738-6CA8-4564-A285-56360F73EB63}" srcOrd="2" destOrd="0" presId="urn:microsoft.com/office/officeart/2005/8/layout/hList1"/>
    <dgm:cxn modelId="{7EEEFCE5-8485-4B1B-8A45-5259D67FC1B9}" type="presParOf" srcId="{43D03738-6CA8-4564-A285-56360F73EB63}" destId="{E9C227DB-6531-46DC-8666-3CEEAA788992}" srcOrd="0" destOrd="0" presId="urn:microsoft.com/office/officeart/2005/8/layout/hList1"/>
    <dgm:cxn modelId="{25699614-B02C-4058-BC13-D1E811CE683C}" type="presParOf" srcId="{43D03738-6CA8-4564-A285-56360F73EB63}" destId="{DD8E226E-4038-4D72-AD67-5AE91D8728EF}" srcOrd="1" destOrd="0" presId="urn:microsoft.com/office/officeart/2005/8/layout/hList1"/>
    <dgm:cxn modelId="{7780C748-85BA-4D90-9DF7-13B3DCFD60D2}" type="presParOf" srcId="{DD523050-C125-49AC-AAD9-EFD0B482BAE2}" destId="{8026C059-3DE9-46FE-87D9-64A1AABB3486}" srcOrd="3" destOrd="0" presId="urn:microsoft.com/office/officeart/2005/8/layout/hList1"/>
    <dgm:cxn modelId="{0C5F6E76-536D-4550-831E-8A17086A9972}" type="presParOf" srcId="{DD523050-C125-49AC-AAD9-EFD0B482BAE2}" destId="{B862E705-1916-427D-972B-D411771C3905}" srcOrd="4" destOrd="0" presId="urn:microsoft.com/office/officeart/2005/8/layout/hList1"/>
    <dgm:cxn modelId="{A5900B67-DCBA-4C50-B5A4-5D2D86AA5434}" type="presParOf" srcId="{B862E705-1916-427D-972B-D411771C3905}" destId="{03001F4A-42EB-4C1E-94DC-A2D074844536}" srcOrd="0" destOrd="0" presId="urn:microsoft.com/office/officeart/2005/8/layout/hList1"/>
    <dgm:cxn modelId="{97615585-F11A-4B21-920C-18A1571C5379}" type="presParOf" srcId="{B862E705-1916-427D-972B-D411771C3905}" destId="{E32EE3E5-906A-420F-85B2-1320809C07C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E27B975-8B1B-4538-980E-5E8A1E16E3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68F36723-C700-4A32-AD44-5133A8EF5207}">
      <dgm:prSet phldrT="[Text]"/>
      <dgm:spPr/>
      <dgm:t>
        <a:bodyPr/>
        <a:lstStyle/>
        <a:p>
          <a:r>
            <a:rPr lang="en-IN" dirty="0" err="1"/>
            <a:t>Streamlit</a:t>
          </a:r>
          <a:r>
            <a:rPr lang="en-IN" dirty="0"/>
            <a:t> sharing</a:t>
          </a:r>
        </a:p>
      </dgm:t>
    </dgm:pt>
    <dgm:pt modelId="{05746D1B-9687-49C8-BDFB-247643031BE1}" type="parTrans" cxnId="{1C991822-BE18-4110-AE9B-85867B069E8F}">
      <dgm:prSet/>
      <dgm:spPr/>
      <dgm:t>
        <a:bodyPr/>
        <a:lstStyle/>
        <a:p>
          <a:endParaRPr lang="en-IN"/>
        </a:p>
      </dgm:t>
    </dgm:pt>
    <dgm:pt modelId="{323D800B-1ACF-4377-A723-94A38B706990}" type="sibTrans" cxnId="{1C991822-BE18-4110-AE9B-85867B069E8F}">
      <dgm:prSet/>
      <dgm:spPr/>
      <dgm:t>
        <a:bodyPr/>
        <a:lstStyle/>
        <a:p>
          <a:endParaRPr lang="en-IN"/>
        </a:p>
      </dgm:t>
    </dgm:pt>
    <dgm:pt modelId="{32086BF2-E22F-48E8-855C-F7400057B64B}">
      <dgm:prSet phldrT="[Text]" custT="1"/>
      <dgm:spPr/>
      <dgm:t>
        <a:bodyPr/>
        <a:lstStyle/>
        <a:p>
          <a:r>
            <a:rPr lang="en-IN" sz="2400" dirty="0"/>
            <a:t>Ideal for quick deployment </a:t>
          </a:r>
        </a:p>
      </dgm:t>
    </dgm:pt>
    <dgm:pt modelId="{4D17F817-7072-401B-A179-D439A91047FF}" type="parTrans" cxnId="{BC3363AF-529E-4752-9C3D-DF8FB80512B5}">
      <dgm:prSet/>
      <dgm:spPr/>
      <dgm:t>
        <a:bodyPr/>
        <a:lstStyle/>
        <a:p>
          <a:endParaRPr lang="en-IN"/>
        </a:p>
      </dgm:t>
    </dgm:pt>
    <dgm:pt modelId="{271BE85A-3E2E-4C4A-89E9-09CA722263FA}" type="sibTrans" cxnId="{BC3363AF-529E-4752-9C3D-DF8FB80512B5}">
      <dgm:prSet/>
      <dgm:spPr/>
      <dgm:t>
        <a:bodyPr/>
        <a:lstStyle/>
        <a:p>
          <a:endParaRPr lang="en-IN"/>
        </a:p>
      </dgm:t>
    </dgm:pt>
    <dgm:pt modelId="{8950936D-C9DE-4478-83BA-4474C67F226C}">
      <dgm:prSet phldrT="[Text]"/>
      <dgm:spPr/>
      <dgm:t>
        <a:bodyPr/>
        <a:lstStyle/>
        <a:p>
          <a:r>
            <a:rPr lang="en-IN" dirty="0"/>
            <a:t>GitHub</a:t>
          </a:r>
        </a:p>
      </dgm:t>
    </dgm:pt>
    <dgm:pt modelId="{CB9FBF65-AF4C-4884-8C78-D1EF93976C14}" type="parTrans" cxnId="{4BAB6BA0-9B8F-426A-9815-82A27F80C309}">
      <dgm:prSet/>
      <dgm:spPr/>
      <dgm:t>
        <a:bodyPr/>
        <a:lstStyle/>
        <a:p>
          <a:endParaRPr lang="en-IN"/>
        </a:p>
      </dgm:t>
    </dgm:pt>
    <dgm:pt modelId="{48F726ED-192E-4091-AC6B-6C8FCB356B60}" type="sibTrans" cxnId="{4BAB6BA0-9B8F-426A-9815-82A27F80C309}">
      <dgm:prSet/>
      <dgm:spPr/>
      <dgm:t>
        <a:bodyPr/>
        <a:lstStyle/>
        <a:p>
          <a:endParaRPr lang="en-IN"/>
        </a:p>
      </dgm:t>
    </dgm:pt>
    <dgm:pt modelId="{76FD61A1-E986-4E21-B557-3536987149E0}">
      <dgm:prSet phldrT="[Text]"/>
      <dgm:spPr/>
      <dgm:t>
        <a:bodyPr/>
        <a:lstStyle/>
        <a:p>
          <a:r>
            <a:rPr lang="en-IN" dirty="0"/>
            <a:t>Pushing the app to GitHub and connecting to </a:t>
          </a:r>
          <a:r>
            <a:rPr lang="en-IN" dirty="0" err="1"/>
            <a:t>streamlit</a:t>
          </a:r>
          <a:endParaRPr lang="en-IN" dirty="0"/>
        </a:p>
      </dgm:t>
    </dgm:pt>
    <dgm:pt modelId="{7AB98C4E-36E3-45BD-998C-959C79C50358}" type="parTrans" cxnId="{ADBE4E97-7950-4E61-B720-1783DB0A3F84}">
      <dgm:prSet/>
      <dgm:spPr/>
      <dgm:t>
        <a:bodyPr/>
        <a:lstStyle/>
        <a:p>
          <a:endParaRPr lang="en-IN"/>
        </a:p>
      </dgm:t>
    </dgm:pt>
    <dgm:pt modelId="{EEE1DDF9-62AF-44CF-930E-9C1B7F80BC7F}" type="sibTrans" cxnId="{ADBE4E97-7950-4E61-B720-1783DB0A3F84}">
      <dgm:prSet/>
      <dgm:spPr/>
      <dgm:t>
        <a:bodyPr/>
        <a:lstStyle/>
        <a:p>
          <a:endParaRPr lang="en-IN"/>
        </a:p>
      </dgm:t>
    </dgm:pt>
    <dgm:pt modelId="{E1D1868E-674E-4190-A604-DA927449DFD6}" type="pres">
      <dgm:prSet presAssocID="{0E27B975-8B1B-4538-980E-5E8A1E16E38A}" presName="Name0" presStyleCnt="0">
        <dgm:presLayoutVars>
          <dgm:dir/>
          <dgm:animLvl val="lvl"/>
          <dgm:resizeHandles val="exact"/>
        </dgm:presLayoutVars>
      </dgm:prSet>
      <dgm:spPr/>
    </dgm:pt>
    <dgm:pt modelId="{64236A91-F141-40C2-BF15-1843DE927D3E}" type="pres">
      <dgm:prSet presAssocID="{68F36723-C700-4A32-AD44-5133A8EF5207}" presName="composite" presStyleCnt="0"/>
      <dgm:spPr/>
    </dgm:pt>
    <dgm:pt modelId="{E4DEF8CB-0558-46C7-BD95-9012FFD784F3}" type="pres">
      <dgm:prSet presAssocID="{68F36723-C700-4A32-AD44-5133A8EF5207}" presName="parTx" presStyleLbl="alignNode1" presStyleIdx="0" presStyleCnt="2">
        <dgm:presLayoutVars>
          <dgm:chMax val="0"/>
          <dgm:chPref val="0"/>
          <dgm:bulletEnabled val="1"/>
        </dgm:presLayoutVars>
      </dgm:prSet>
      <dgm:spPr/>
    </dgm:pt>
    <dgm:pt modelId="{32F236AD-689D-4B21-BD50-74467CE87C38}" type="pres">
      <dgm:prSet presAssocID="{68F36723-C700-4A32-AD44-5133A8EF5207}" presName="desTx" presStyleLbl="alignAccFollowNode1" presStyleIdx="0" presStyleCnt="2">
        <dgm:presLayoutVars>
          <dgm:bulletEnabled val="1"/>
        </dgm:presLayoutVars>
      </dgm:prSet>
      <dgm:spPr/>
    </dgm:pt>
    <dgm:pt modelId="{BF957730-B19F-4FEB-ADD6-84923186B059}" type="pres">
      <dgm:prSet presAssocID="{323D800B-1ACF-4377-A723-94A38B706990}" presName="space" presStyleCnt="0"/>
      <dgm:spPr/>
    </dgm:pt>
    <dgm:pt modelId="{5FAFFE1A-D921-4F30-855A-790551723DFA}" type="pres">
      <dgm:prSet presAssocID="{8950936D-C9DE-4478-83BA-4474C67F226C}" presName="composite" presStyleCnt="0"/>
      <dgm:spPr/>
    </dgm:pt>
    <dgm:pt modelId="{0176FF65-1843-48F7-9526-0B70C85BCD7D}" type="pres">
      <dgm:prSet presAssocID="{8950936D-C9DE-4478-83BA-4474C67F226C}" presName="parTx" presStyleLbl="alignNode1" presStyleIdx="1" presStyleCnt="2">
        <dgm:presLayoutVars>
          <dgm:chMax val="0"/>
          <dgm:chPref val="0"/>
          <dgm:bulletEnabled val="1"/>
        </dgm:presLayoutVars>
      </dgm:prSet>
      <dgm:spPr/>
    </dgm:pt>
    <dgm:pt modelId="{25B60CF2-47D3-49B5-A24E-0931A59D1112}" type="pres">
      <dgm:prSet presAssocID="{8950936D-C9DE-4478-83BA-4474C67F226C}" presName="desTx" presStyleLbl="alignAccFollowNode1" presStyleIdx="1" presStyleCnt="2">
        <dgm:presLayoutVars>
          <dgm:bulletEnabled val="1"/>
        </dgm:presLayoutVars>
      </dgm:prSet>
      <dgm:spPr/>
    </dgm:pt>
  </dgm:ptLst>
  <dgm:cxnLst>
    <dgm:cxn modelId="{FC542221-1E9C-4D7D-890E-B86C259D42DA}" type="presOf" srcId="{8950936D-C9DE-4478-83BA-4474C67F226C}" destId="{0176FF65-1843-48F7-9526-0B70C85BCD7D}" srcOrd="0" destOrd="0" presId="urn:microsoft.com/office/officeart/2005/8/layout/hList1"/>
    <dgm:cxn modelId="{1C991822-BE18-4110-AE9B-85867B069E8F}" srcId="{0E27B975-8B1B-4538-980E-5E8A1E16E38A}" destId="{68F36723-C700-4A32-AD44-5133A8EF5207}" srcOrd="0" destOrd="0" parTransId="{05746D1B-9687-49C8-BDFB-247643031BE1}" sibTransId="{323D800B-1ACF-4377-A723-94A38B706990}"/>
    <dgm:cxn modelId="{EB1AB286-41E8-4514-8AE7-2979540E6EE2}" type="presOf" srcId="{32086BF2-E22F-48E8-855C-F7400057B64B}" destId="{32F236AD-689D-4B21-BD50-74467CE87C38}" srcOrd="0" destOrd="0" presId="urn:microsoft.com/office/officeart/2005/8/layout/hList1"/>
    <dgm:cxn modelId="{ADBE4E97-7950-4E61-B720-1783DB0A3F84}" srcId="{8950936D-C9DE-4478-83BA-4474C67F226C}" destId="{76FD61A1-E986-4E21-B557-3536987149E0}" srcOrd="0" destOrd="0" parTransId="{7AB98C4E-36E3-45BD-998C-959C79C50358}" sibTransId="{EEE1DDF9-62AF-44CF-930E-9C1B7F80BC7F}"/>
    <dgm:cxn modelId="{4BAB6BA0-9B8F-426A-9815-82A27F80C309}" srcId="{0E27B975-8B1B-4538-980E-5E8A1E16E38A}" destId="{8950936D-C9DE-4478-83BA-4474C67F226C}" srcOrd="1" destOrd="0" parTransId="{CB9FBF65-AF4C-4884-8C78-D1EF93976C14}" sibTransId="{48F726ED-192E-4091-AC6B-6C8FCB356B60}"/>
    <dgm:cxn modelId="{8ACD56A0-7CEE-4B0F-85DE-E26D5AA738A0}" type="presOf" srcId="{76FD61A1-E986-4E21-B557-3536987149E0}" destId="{25B60CF2-47D3-49B5-A24E-0931A59D1112}" srcOrd="0" destOrd="0" presId="urn:microsoft.com/office/officeart/2005/8/layout/hList1"/>
    <dgm:cxn modelId="{BC3363AF-529E-4752-9C3D-DF8FB80512B5}" srcId="{68F36723-C700-4A32-AD44-5133A8EF5207}" destId="{32086BF2-E22F-48E8-855C-F7400057B64B}" srcOrd="0" destOrd="0" parTransId="{4D17F817-7072-401B-A179-D439A91047FF}" sibTransId="{271BE85A-3E2E-4C4A-89E9-09CA722263FA}"/>
    <dgm:cxn modelId="{DA8CC1D6-321F-444E-93F1-14C6203B7DD1}" type="presOf" srcId="{0E27B975-8B1B-4538-980E-5E8A1E16E38A}" destId="{E1D1868E-674E-4190-A604-DA927449DFD6}" srcOrd="0" destOrd="0" presId="urn:microsoft.com/office/officeart/2005/8/layout/hList1"/>
    <dgm:cxn modelId="{7DCFE6EB-34A9-4DA5-A006-8DA0DBF05DA0}" type="presOf" srcId="{68F36723-C700-4A32-AD44-5133A8EF5207}" destId="{E4DEF8CB-0558-46C7-BD95-9012FFD784F3}" srcOrd="0" destOrd="0" presId="urn:microsoft.com/office/officeart/2005/8/layout/hList1"/>
    <dgm:cxn modelId="{7B80C92C-97F8-426C-B4FA-1A46BB073944}" type="presParOf" srcId="{E1D1868E-674E-4190-A604-DA927449DFD6}" destId="{64236A91-F141-40C2-BF15-1843DE927D3E}" srcOrd="0" destOrd="0" presId="urn:microsoft.com/office/officeart/2005/8/layout/hList1"/>
    <dgm:cxn modelId="{E4CE1087-6452-48F3-8206-EB67D7982CC7}" type="presParOf" srcId="{64236A91-F141-40C2-BF15-1843DE927D3E}" destId="{E4DEF8CB-0558-46C7-BD95-9012FFD784F3}" srcOrd="0" destOrd="0" presId="urn:microsoft.com/office/officeart/2005/8/layout/hList1"/>
    <dgm:cxn modelId="{BAD79384-F838-41AD-AA3E-A012A41AC6C9}" type="presParOf" srcId="{64236A91-F141-40C2-BF15-1843DE927D3E}" destId="{32F236AD-689D-4B21-BD50-74467CE87C38}" srcOrd="1" destOrd="0" presId="urn:microsoft.com/office/officeart/2005/8/layout/hList1"/>
    <dgm:cxn modelId="{3AD7C6EB-45F6-4E64-A33A-2F487F498473}" type="presParOf" srcId="{E1D1868E-674E-4190-A604-DA927449DFD6}" destId="{BF957730-B19F-4FEB-ADD6-84923186B059}" srcOrd="1" destOrd="0" presId="urn:microsoft.com/office/officeart/2005/8/layout/hList1"/>
    <dgm:cxn modelId="{0928B859-659D-41E2-9A0F-2AD6E26B6407}" type="presParOf" srcId="{E1D1868E-674E-4190-A604-DA927449DFD6}" destId="{5FAFFE1A-D921-4F30-855A-790551723DFA}" srcOrd="2" destOrd="0" presId="urn:microsoft.com/office/officeart/2005/8/layout/hList1"/>
    <dgm:cxn modelId="{512F148C-B482-49C4-880D-D758096EC2DF}" type="presParOf" srcId="{5FAFFE1A-D921-4F30-855A-790551723DFA}" destId="{0176FF65-1843-48F7-9526-0B70C85BCD7D}" srcOrd="0" destOrd="0" presId="urn:microsoft.com/office/officeart/2005/8/layout/hList1"/>
    <dgm:cxn modelId="{034620BE-B60C-4686-8C04-BDA0B2B206DB}" type="presParOf" srcId="{5FAFFE1A-D921-4F30-855A-790551723DFA}" destId="{25B60CF2-47D3-49B5-A24E-0931A59D1112}"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9AE7AB7-F6A0-43C4-BB0D-D86011B5253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60B3F59E-8AE0-4992-B769-B8EA3E46D674}">
      <dgm:prSet phldrT="[Text]" custT="1"/>
      <dgm:spPr/>
      <dgm:t>
        <a:bodyPr/>
        <a:lstStyle/>
        <a:p>
          <a:r>
            <a:rPr lang="en-IN" sz="2000" dirty="0"/>
            <a:t>Advanced Analytics – To integrate more sophisticated features such as trend analysis to offer deep insights</a:t>
          </a:r>
        </a:p>
      </dgm:t>
    </dgm:pt>
    <dgm:pt modelId="{DE277CC2-E903-4EEF-9C82-52647E2E92AD}" type="parTrans" cxnId="{DB63A7A6-157A-4013-B94B-9EB919C2A267}">
      <dgm:prSet/>
      <dgm:spPr/>
      <dgm:t>
        <a:bodyPr/>
        <a:lstStyle/>
        <a:p>
          <a:endParaRPr lang="en-IN"/>
        </a:p>
      </dgm:t>
    </dgm:pt>
    <dgm:pt modelId="{93759E9C-E45E-4221-8752-A0874C5AC718}" type="sibTrans" cxnId="{DB63A7A6-157A-4013-B94B-9EB919C2A267}">
      <dgm:prSet/>
      <dgm:spPr/>
      <dgm:t>
        <a:bodyPr/>
        <a:lstStyle/>
        <a:p>
          <a:endParaRPr lang="en-IN"/>
        </a:p>
      </dgm:t>
    </dgm:pt>
    <dgm:pt modelId="{E295AA07-066D-444E-B5AC-8F7D3D42D2FA}">
      <dgm:prSet phldrT="[Text]" custT="1"/>
      <dgm:spPr/>
      <dgm:t>
        <a:bodyPr/>
        <a:lstStyle/>
        <a:p>
          <a:r>
            <a:rPr lang="en-IN" sz="2000" dirty="0"/>
            <a:t>Multi-platform support- extend support to additional platforms, such as mobile apps or integration with voice assistants.</a:t>
          </a:r>
        </a:p>
      </dgm:t>
    </dgm:pt>
    <dgm:pt modelId="{3BF17B8C-0AE5-4B56-878B-A1191D19E0DF}" type="parTrans" cxnId="{99413061-D24C-4521-BED8-6174BF5DF411}">
      <dgm:prSet/>
      <dgm:spPr/>
      <dgm:t>
        <a:bodyPr/>
        <a:lstStyle/>
        <a:p>
          <a:endParaRPr lang="en-IN"/>
        </a:p>
      </dgm:t>
    </dgm:pt>
    <dgm:pt modelId="{0466DB56-54E8-4B93-96AC-603ECCAD5114}" type="sibTrans" cxnId="{99413061-D24C-4521-BED8-6174BF5DF411}">
      <dgm:prSet/>
      <dgm:spPr/>
      <dgm:t>
        <a:bodyPr/>
        <a:lstStyle/>
        <a:p>
          <a:endParaRPr lang="en-IN"/>
        </a:p>
      </dgm:t>
    </dgm:pt>
    <dgm:pt modelId="{A5742FCB-99E6-47C5-A364-F61F8B7A6610}">
      <dgm:prSet phldrT="[Text]" custT="1"/>
      <dgm:spPr/>
      <dgm:t>
        <a:bodyPr/>
        <a:lstStyle/>
        <a:p>
          <a:r>
            <a:rPr lang="en-IN" sz="2000" dirty="0"/>
            <a:t>Market expansion- explore opportunities to enter new markets or industry segments by adapting the solution to meet specific needs and regulations</a:t>
          </a:r>
        </a:p>
      </dgm:t>
    </dgm:pt>
    <dgm:pt modelId="{42EEE963-26AF-4218-A8D1-E65CDEF39C0E}" type="sibTrans" cxnId="{82ADA2F7-266A-491F-9D09-CD3FD06B383E}">
      <dgm:prSet/>
      <dgm:spPr/>
      <dgm:t>
        <a:bodyPr/>
        <a:lstStyle/>
        <a:p>
          <a:endParaRPr lang="en-IN"/>
        </a:p>
      </dgm:t>
    </dgm:pt>
    <dgm:pt modelId="{B7ABA2C8-0BEF-453D-9CC5-088EAE01F17B}" type="parTrans" cxnId="{82ADA2F7-266A-491F-9D09-CD3FD06B383E}">
      <dgm:prSet/>
      <dgm:spPr/>
      <dgm:t>
        <a:bodyPr/>
        <a:lstStyle/>
        <a:p>
          <a:endParaRPr lang="en-IN"/>
        </a:p>
      </dgm:t>
    </dgm:pt>
    <dgm:pt modelId="{5C395EE4-7408-4612-B128-1321266909A5}">
      <dgm:prSet phldrT="[Text]" custT="1"/>
      <dgm:spPr/>
      <dgm:t>
        <a:bodyPr/>
        <a:lstStyle/>
        <a:p>
          <a:r>
            <a:rPr lang="en-IN" sz="2000" dirty="0"/>
            <a:t>Innovation</a:t>
          </a:r>
          <a:r>
            <a:rPr lang="en-IN" sz="2000" baseline="0" dirty="0"/>
            <a:t> and R&amp;D- Invest in research and development to stay ahead of technological advancements and incorporate innovative solutions.  </a:t>
          </a:r>
          <a:endParaRPr lang="en-IN" sz="2000" dirty="0"/>
        </a:p>
      </dgm:t>
    </dgm:pt>
    <dgm:pt modelId="{8DCF9813-3FE3-415F-BC78-990E9C26F1EC}" type="parTrans" cxnId="{BE1832D7-5534-4FE8-BE8E-FB627B8A978E}">
      <dgm:prSet/>
      <dgm:spPr/>
      <dgm:t>
        <a:bodyPr/>
        <a:lstStyle/>
        <a:p>
          <a:endParaRPr lang="en-IN"/>
        </a:p>
      </dgm:t>
    </dgm:pt>
    <dgm:pt modelId="{DE3A8C33-27E7-40BC-AB80-6271F2FA4EAF}" type="sibTrans" cxnId="{BE1832D7-5534-4FE8-BE8E-FB627B8A978E}">
      <dgm:prSet/>
      <dgm:spPr/>
      <dgm:t>
        <a:bodyPr/>
        <a:lstStyle/>
        <a:p>
          <a:endParaRPr lang="en-IN"/>
        </a:p>
      </dgm:t>
    </dgm:pt>
    <dgm:pt modelId="{06ACDF27-B679-452D-A237-B4FF0D337C58}" type="pres">
      <dgm:prSet presAssocID="{C9AE7AB7-F6A0-43C4-BB0D-D86011B5253F}" presName="linear" presStyleCnt="0">
        <dgm:presLayoutVars>
          <dgm:dir/>
          <dgm:animLvl val="lvl"/>
          <dgm:resizeHandles val="exact"/>
        </dgm:presLayoutVars>
      </dgm:prSet>
      <dgm:spPr/>
    </dgm:pt>
    <dgm:pt modelId="{D1574814-B61A-4B2C-A2FB-54CDD6BE77E2}" type="pres">
      <dgm:prSet presAssocID="{60B3F59E-8AE0-4992-B769-B8EA3E46D674}" presName="parentLin" presStyleCnt="0"/>
      <dgm:spPr/>
    </dgm:pt>
    <dgm:pt modelId="{26A6C2E4-DB21-4238-8BD9-DE0AB4F5E2B9}" type="pres">
      <dgm:prSet presAssocID="{60B3F59E-8AE0-4992-B769-B8EA3E46D674}" presName="parentLeftMargin" presStyleLbl="node1" presStyleIdx="0" presStyleCnt="4"/>
      <dgm:spPr/>
    </dgm:pt>
    <dgm:pt modelId="{5A6984B9-5EF7-490C-9C7F-E9DE0AA1872F}" type="pres">
      <dgm:prSet presAssocID="{60B3F59E-8AE0-4992-B769-B8EA3E46D674}" presName="parentText" presStyleLbl="node1" presStyleIdx="0" presStyleCnt="4" custScaleX="106887" custScaleY="220634">
        <dgm:presLayoutVars>
          <dgm:chMax val="0"/>
          <dgm:bulletEnabled val="1"/>
        </dgm:presLayoutVars>
      </dgm:prSet>
      <dgm:spPr/>
    </dgm:pt>
    <dgm:pt modelId="{9F8E0BE6-1676-4BE5-A4F4-639D78A540AE}" type="pres">
      <dgm:prSet presAssocID="{60B3F59E-8AE0-4992-B769-B8EA3E46D674}" presName="negativeSpace" presStyleCnt="0"/>
      <dgm:spPr/>
    </dgm:pt>
    <dgm:pt modelId="{C04D6A4C-425E-4430-9987-9FD1D58FA9CE}" type="pres">
      <dgm:prSet presAssocID="{60B3F59E-8AE0-4992-B769-B8EA3E46D674}" presName="childText" presStyleLbl="conFgAcc1" presStyleIdx="0" presStyleCnt="4">
        <dgm:presLayoutVars>
          <dgm:bulletEnabled val="1"/>
        </dgm:presLayoutVars>
      </dgm:prSet>
      <dgm:spPr/>
    </dgm:pt>
    <dgm:pt modelId="{CD4E5459-5E9D-4BB9-BF2B-3FC8FB094177}" type="pres">
      <dgm:prSet presAssocID="{93759E9C-E45E-4221-8752-A0874C5AC718}" presName="spaceBetweenRectangles" presStyleCnt="0"/>
      <dgm:spPr/>
    </dgm:pt>
    <dgm:pt modelId="{C3126A3B-7E6F-4484-8751-339A0E6B805B}" type="pres">
      <dgm:prSet presAssocID="{E295AA07-066D-444E-B5AC-8F7D3D42D2FA}" presName="parentLin" presStyleCnt="0"/>
      <dgm:spPr/>
    </dgm:pt>
    <dgm:pt modelId="{0AFC87BC-0776-4BDF-AB33-A64611006FD7}" type="pres">
      <dgm:prSet presAssocID="{E295AA07-066D-444E-B5AC-8F7D3D42D2FA}" presName="parentLeftMargin" presStyleLbl="node1" presStyleIdx="0" presStyleCnt="4"/>
      <dgm:spPr/>
    </dgm:pt>
    <dgm:pt modelId="{C35C483C-359D-454C-88B4-18081CDF47B6}" type="pres">
      <dgm:prSet presAssocID="{E295AA07-066D-444E-B5AC-8F7D3D42D2FA}" presName="parentText" presStyleLbl="node1" presStyleIdx="1" presStyleCnt="4" custScaleX="114826" custScaleY="222785">
        <dgm:presLayoutVars>
          <dgm:chMax val="0"/>
          <dgm:bulletEnabled val="1"/>
        </dgm:presLayoutVars>
      </dgm:prSet>
      <dgm:spPr/>
    </dgm:pt>
    <dgm:pt modelId="{A22A4604-C7CE-43D5-9BAB-A0E74CEC832F}" type="pres">
      <dgm:prSet presAssocID="{E295AA07-066D-444E-B5AC-8F7D3D42D2FA}" presName="negativeSpace" presStyleCnt="0"/>
      <dgm:spPr/>
    </dgm:pt>
    <dgm:pt modelId="{497420D4-016C-4B63-B9D9-BE4A04355091}" type="pres">
      <dgm:prSet presAssocID="{E295AA07-066D-444E-B5AC-8F7D3D42D2FA}" presName="childText" presStyleLbl="conFgAcc1" presStyleIdx="1" presStyleCnt="4">
        <dgm:presLayoutVars>
          <dgm:bulletEnabled val="1"/>
        </dgm:presLayoutVars>
      </dgm:prSet>
      <dgm:spPr/>
    </dgm:pt>
    <dgm:pt modelId="{A1FC9500-01F8-4E5B-AF01-1394F9CCE29D}" type="pres">
      <dgm:prSet presAssocID="{0466DB56-54E8-4B93-96AC-603ECCAD5114}" presName="spaceBetweenRectangles" presStyleCnt="0"/>
      <dgm:spPr/>
    </dgm:pt>
    <dgm:pt modelId="{4C4DD970-7FD7-4506-AF83-C872164BB3AB}" type="pres">
      <dgm:prSet presAssocID="{A5742FCB-99E6-47C5-A364-F61F8B7A6610}" presName="parentLin" presStyleCnt="0"/>
      <dgm:spPr/>
    </dgm:pt>
    <dgm:pt modelId="{16B24920-CE76-4646-B5C6-E50BA0843216}" type="pres">
      <dgm:prSet presAssocID="{A5742FCB-99E6-47C5-A364-F61F8B7A6610}" presName="parentLeftMargin" presStyleLbl="node1" presStyleIdx="1" presStyleCnt="4"/>
      <dgm:spPr/>
    </dgm:pt>
    <dgm:pt modelId="{96CF8E99-EFE7-4E7F-85AA-88B5F02B078B}" type="pres">
      <dgm:prSet presAssocID="{A5742FCB-99E6-47C5-A364-F61F8B7A6610}" presName="parentText" presStyleLbl="node1" presStyleIdx="2" presStyleCnt="4" custScaleX="119196" custScaleY="234759">
        <dgm:presLayoutVars>
          <dgm:chMax val="0"/>
          <dgm:bulletEnabled val="1"/>
        </dgm:presLayoutVars>
      </dgm:prSet>
      <dgm:spPr/>
    </dgm:pt>
    <dgm:pt modelId="{B44883B3-D9D7-4791-83DF-0E3FEB2D002B}" type="pres">
      <dgm:prSet presAssocID="{A5742FCB-99E6-47C5-A364-F61F8B7A6610}" presName="negativeSpace" presStyleCnt="0"/>
      <dgm:spPr/>
    </dgm:pt>
    <dgm:pt modelId="{01776C4E-5806-42C5-B45A-840E2721FF62}" type="pres">
      <dgm:prSet presAssocID="{A5742FCB-99E6-47C5-A364-F61F8B7A6610}" presName="childText" presStyleLbl="conFgAcc1" presStyleIdx="2" presStyleCnt="4">
        <dgm:presLayoutVars>
          <dgm:bulletEnabled val="1"/>
        </dgm:presLayoutVars>
      </dgm:prSet>
      <dgm:spPr/>
    </dgm:pt>
    <dgm:pt modelId="{25B4698E-19E4-49BA-AD8F-439BF5916E97}" type="pres">
      <dgm:prSet presAssocID="{42EEE963-26AF-4218-A8D1-E65CDEF39C0E}" presName="spaceBetweenRectangles" presStyleCnt="0"/>
      <dgm:spPr/>
    </dgm:pt>
    <dgm:pt modelId="{7E4CAF4A-BBF4-4EA7-AA15-D19AF276FEE8}" type="pres">
      <dgm:prSet presAssocID="{5C395EE4-7408-4612-B128-1321266909A5}" presName="parentLin" presStyleCnt="0"/>
      <dgm:spPr/>
    </dgm:pt>
    <dgm:pt modelId="{8057EF83-9A45-4BA2-93C7-163A74D640FF}" type="pres">
      <dgm:prSet presAssocID="{5C395EE4-7408-4612-B128-1321266909A5}" presName="parentLeftMargin" presStyleLbl="node1" presStyleIdx="2" presStyleCnt="4" custScaleX="119196" custScaleY="234759"/>
      <dgm:spPr/>
    </dgm:pt>
    <dgm:pt modelId="{B154533B-8DBD-4DE1-9E1A-9A39D495A738}" type="pres">
      <dgm:prSet presAssocID="{5C395EE4-7408-4612-B128-1321266909A5}" presName="parentText" presStyleLbl="node1" presStyleIdx="3" presStyleCnt="4" custScaleX="128169" custScaleY="240072" custLinFactNeighborX="-8309" custLinFactNeighborY="-2281">
        <dgm:presLayoutVars>
          <dgm:chMax val="0"/>
          <dgm:bulletEnabled val="1"/>
        </dgm:presLayoutVars>
      </dgm:prSet>
      <dgm:spPr/>
    </dgm:pt>
    <dgm:pt modelId="{D65F2CDD-BAD7-4E7F-8AC1-7D8251FEB76C}" type="pres">
      <dgm:prSet presAssocID="{5C395EE4-7408-4612-B128-1321266909A5}" presName="negativeSpace" presStyleCnt="0"/>
      <dgm:spPr/>
    </dgm:pt>
    <dgm:pt modelId="{86E4CA4F-BC69-4D24-BB93-C24C69161AF9}" type="pres">
      <dgm:prSet presAssocID="{5C395EE4-7408-4612-B128-1321266909A5}" presName="childText" presStyleLbl="conFgAcc1" presStyleIdx="3" presStyleCnt="4">
        <dgm:presLayoutVars>
          <dgm:bulletEnabled val="1"/>
        </dgm:presLayoutVars>
      </dgm:prSet>
      <dgm:spPr/>
    </dgm:pt>
  </dgm:ptLst>
  <dgm:cxnLst>
    <dgm:cxn modelId="{2116850F-D081-421D-AF4F-F6C75925EE44}" type="presOf" srcId="{C9AE7AB7-F6A0-43C4-BB0D-D86011B5253F}" destId="{06ACDF27-B679-452D-A237-B4FF0D337C58}" srcOrd="0" destOrd="0" presId="urn:microsoft.com/office/officeart/2005/8/layout/list1"/>
    <dgm:cxn modelId="{21243F3D-0FF4-483B-A71E-CA05FBFC2604}" type="presOf" srcId="{E295AA07-066D-444E-B5AC-8F7D3D42D2FA}" destId="{C35C483C-359D-454C-88B4-18081CDF47B6}" srcOrd="1" destOrd="0" presId="urn:microsoft.com/office/officeart/2005/8/layout/list1"/>
    <dgm:cxn modelId="{99413061-D24C-4521-BED8-6174BF5DF411}" srcId="{C9AE7AB7-F6A0-43C4-BB0D-D86011B5253F}" destId="{E295AA07-066D-444E-B5AC-8F7D3D42D2FA}" srcOrd="1" destOrd="0" parTransId="{3BF17B8C-0AE5-4B56-878B-A1191D19E0DF}" sibTransId="{0466DB56-54E8-4B93-96AC-603ECCAD5114}"/>
    <dgm:cxn modelId="{F734B465-452B-4EB6-9F66-792A13BB716C}" type="presOf" srcId="{5C395EE4-7408-4612-B128-1321266909A5}" destId="{8057EF83-9A45-4BA2-93C7-163A74D640FF}" srcOrd="0" destOrd="0" presId="urn:microsoft.com/office/officeart/2005/8/layout/list1"/>
    <dgm:cxn modelId="{FA0C8279-5D65-4EA1-9BC9-BE4EBC7713F4}" type="presOf" srcId="{A5742FCB-99E6-47C5-A364-F61F8B7A6610}" destId="{96CF8E99-EFE7-4E7F-85AA-88B5F02B078B}" srcOrd="1" destOrd="0" presId="urn:microsoft.com/office/officeart/2005/8/layout/list1"/>
    <dgm:cxn modelId="{F4277B85-6211-40D8-B9D4-DDED1FAFF13B}" type="presOf" srcId="{60B3F59E-8AE0-4992-B769-B8EA3E46D674}" destId="{5A6984B9-5EF7-490C-9C7F-E9DE0AA1872F}" srcOrd="1" destOrd="0" presId="urn:microsoft.com/office/officeart/2005/8/layout/list1"/>
    <dgm:cxn modelId="{3D9EC697-8E59-4EE0-A019-C2D3064B47B8}" type="presOf" srcId="{A5742FCB-99E6-47C5-A364-F61F8B7A6610}" destId="{16B24920-CE76-4646-B5C6-E50BA0843216}" srcOrd="0" destOrd="0" presId="urn:microsoft.com/office/officeart/2005/8/layout/list1"/>
    <dgm:cxn modelId="{DB63A7A6-157A-4013-B94B-9EB919C2A267}" srcId="{C9AE7AB7-F6A0-43C4-BB0D-D86011B5253F}" destId="{60B3F59E-8AE0-4992-B769-B8EA3E46D674}" srcOrd="0" destOrd="0" parTransId="{DE277CC2-E903-4EEF-9C82-52647E2E92AD}" sibTransId="{93759E9C-E45E-4221-8752-A0874C5AC718}"/>
    <dgm:cxn modelId="{EE627FB0-51BB-42CF-96CC-F7D6CC206034}" type="presOf" srcId="{60B3F59E-8AE0-4992-B769-B8EA3E46D674}" destId="{26A6C2E4-DB21-4238-8BD9-DE0AB4F5E2B9}" srcOrd="0" destOrd="0" presId="urn:microsoft.com/office/officeart/2005/8/layout/list1"/>
    <dgm:cxn modelId="{27E90CC6-6A7A-426C-A2E6-447E62FBC25C}" type="presOf" srcId="{E295AA07-066D-444E-B5AC-8F7D3D42D2FA}" destId="{0AFC87BC-0776-4BDF-AB33-A64611006FD7}" srcOrd="0" destOrd="0" presId="urn:microsoft.com/office/officeart/2005/8/layout/list1"/>
    <dgm:cxn modelId="{BE1832D7-5534-4FE8-BE8E-FB627B8A978E}" srcId="{C9AE7AB7-F6A0-43C4-BB0D-D86011B5253F}" destId="{5C395EE4-7408-4612-B128-1321266909A5}" srcOrd="3" destOrd="0" parTransId="{8DCF9813-3FE3-415F-BC78-990E9C26F1EC}" sibTransId="{DE3A8C33-27E7-40BC-AB80-6271F2FA4EAF}"/>
    <dgm:cxn modelId="{692302EF-7CD5-4D27-970B-4C8C98DA201E}" type="presOf" srcId="{5C395EE4-7408-4612-B128-1321266909A5}" destId="{B154533B-8DBD-4DE1-9E1A-9A39D495A738}" srcOrd="1" destOrd="0" presId="urn:microsoft.com/office/officeart/2005/8/layout/list1"/>
    <dgm:cxn modelId="{82ADA2F7-266A-491F-9D09-CD3FD06B383E}" srcId="{C9AE7AB7-F6A0-43C4-BB0D-D86011B5253F}" destId="{A5742FCB-99E6-47C5-A364-F61F8B7A6610}" srcOrd="2" destOrd="0" parTransId="{B7ABA2C8-0BEF-453D-9CC5-088EAE01F17B}" sibTransId="{42EEE963-26AF-4218-A8D1-E65CDEF39C0E}"/>
    <dgm:cxn modelId="{99927F0F-3A71-47C2-B4A3-88096458E183}" type="presParOf" srcId="{06ACDF27-B679-452D-A237-B4FF0D337C58}" destId="{D1574814-B61A-4B2C-A2FB-54CDD6BE77E2}" srcOrd="0" destOrd="0" presId="urn:microsoft.com/office/officeart/2005/8/layout/list1"/>
    <dgm:cxn modelId="{6E5F12C7-11B3-4FAC-92AB-6FDE8DD72907}" type="presParOf" srcId="{D1574814-B61A-4B2C-A2FB-54CDD6BE77E2}" destId="{26A6C2E4-DB21-4238-8BD9-DE0AB4F5E2B9}" srcOrd="0" destOrd="0" presId="urn:microsoft.com/office/officeart/2005/8/layout/list1"/>
    <dgm:cxn modelId="{FA9148CB-42F4-412A-924E-E57AB4719028}" type="presParOf" srcId="{D1574814-B61A-4B2C-A2FB-54CDD6BE77E2}" destId="{5A6984B9-5EF7-490C-9C7F-E9DE0AA1872F}" srcOrd="1" destOrd="0" presId="urn:microsoft.com/office/officeart/2005/8/layout/list1"/>
    <dgm:cxn modelId="{4D654AE3-3DE9-4192-9A94-E59C4694154B}" type="presParOf" srcId="{06ACDF27-B679-452D-A237-B4FF0D337C58}" destId="{9F8E0BE6-1676-4BE5-A4F4-639D78A540AE}" srcOrd="1" destOrd="0" presId="urn:microsoft.com/office/officeart/2005/8/layout/list1"/>
    <dgm:cxn modelId="{75195213-35C3-4F7A-9863-60D93EFBB596}" type="presParOf" srcId="{06ACDF27-B679-452D-A237-B4FF0D337C58}" destId="{C04D6A4C-425E-4430-9987-9FD1D58FA9CE}" srcOrd="2" destOrd="0" presId="urn:microsoft.com/office/officeart/2005/8/layout/list1"/>
    <dgm:cxn modelId="{5C49AB57-7D5C-4C40-8F9A-9528E99839E2}" type="presParOf" srcId="{06ACDF27-B679-452D-A237-B4FF0D337C58}" destId="{CD4E5459-5E9D-4BB9-BF2B-3FC8FB094177}" srcOrd="3" destOrd="0" presId="urn:microsoft.com/office/officeart/2005/8/layout/list1"/>
    <dgm:cxn modelId="{8CA5C91B-3BAF-4C3D-9562-FBFBBDA16F7F}" type="presParOf" srcId="{06ACDF27-B679-452D-A237-B4FF0D337C58}" destId="{C3126A3B-7E6F-4484-8751-339A0E6B805B}" srcOrd="4" destOrd="0" presId="urn:microsoft.com/office/officeart/2005/8/layout/list1"/>
    <dgm:cxn modelId="{97F227B4-4529-43C6-9AC6-3E8EBFD7FA1D}" type="presParOf" srcId="{C3126A3B-7E6F-4484-8751-339A0E6B805B}" destId="{0AFC87BC-0776-4BDF-AB33-A64611006FD7}" srcOrd="0" destOrd="0" presId="urn:microsoft.com/office/officeart/2005/8/layout/list1"/>
    <dgm:cxn modelId="{54F929E7-5DBC-4F18-8840-9AA5F1C6F083}" type="presParOf" srcId="{C3126A3B-7E6F-4484-8751-339A0E6B805B}" destId="{C35C483C-359D-454C-88B4-18081CDF47B6}" srcOrd="1" destOrd="0" presId="urn:microsoft.com/office/officeart/2005/8/layout/list1"/>
    <dgm:cxn modelId="{A7F99453-1DBE-4077-902A-5B5662D3CF74}" type="presParOf" srcId="{06ACDF27-B679-452D-A237-B4FF0D337C58}" destId="{A22A4604-C7CE-43D5-9BAB-A0E74CEC832F}" srcOrd="5" destOrd="0" presId="urn:microsoft.com/office/officeart/2005/8/layout/list1"/>
    <dgm:cxn modelId="{92ADEEF5-CEE9-4808-8B9F-7277F2204713}" type="presParOf" srcId="{06ACDF27-B679-452D-A237-B4FF0D337C58}" destId="{497420D4-016C-4B63-B9D9-BE4A04355091}" srcOrd="6" destOrd="0" presId="urn:microsoft.com/office/officeart/2005/8/layout/list1"/>
    <dgm:cxn modelId="{697AB4B1-85BA-4355-B51A-E512416FD6C5}" type="presParOf" srcId="{06ACDF27-B679-452D-A237-B4FF0D337C58}" destId="{A1FC9500-01F8-4E5B-AF01-1394F9CCE29D}" srcOrd="7" destOrd="0" presId="urn:microsoft.com/office/officeart/2005/8/layout/list1"/>
    <dgm:cxn modelId="{77BCFE08-7766-410D-9B0E-66C23587DB3B}" type="presParOf" srcId="{06ACDF27-B679-452D-A237-B4FF0D337C58}" destId="{4C4DD970-7FD7-4506-AF83-C872164BB3AB}" srcOrd="8" destOrd="0" presId="urn:microsoft.com/office/officeart/2005/8/layout/list1"/>
    <dgm:cxn modelId="{3DF7E554-F436-4721-9E77-6487E7CDCCB5}" type="presParOf" srcId="{4C4DD970-7FD7-4506-AF83-C872164BB3AB}" destId="{16B24920-CE76-4646-B5C6-E50BA0843216}" srcOrd="0" destOrd="0" presId="urn:microsoft.com/office/officeart/2005/8/layout/list1"/>
    <dgm:cxn modelId="{46D66736-3560-4E6C-A697-0C62269DE961}" type="presParOf" srcId="{4C4DD970-7FD7-4506-AF83-C872164BB3AB}" destId="{96CF8E99-EFE7-4E7F-85AA-88B5F02B078B}" srcOrd="1" destOrd="0" presId="urn:microsoft.com/office/officeart/2005/8/layout/list1"/>
    <dgm:cxn modelId="{EE70F5A0-76DE-4C73-9479-434B2873BD6F}" type="presParOf" srcId="{06ACDF27-B679-452D-A237-B4FF0D337C58}" destId="{B44883B3-D9D7-4791-83DF-0E3FEB2D002B}" srcOrd="9" destOrd="0" presId="urn:microsoft.com/office/officeart/2005/8/layout/list1"/>
    <dgm:cxn modelId="{40D44EB4-F33D-4E46-A35F-5D140451625E}" type="presParOf" srcId="{06ACDF27-B679-452D-A237-B4FF0D337C58}" destId="{01776C4E-5806-42C5-B45A-840E2721FF62}" srcOrd="10" destOrd="0" presId="urn:microsoft.com/office/officeart/2005/8/layout/list1"/>
    <dgm:cxn modelId="{6A95CBA0-C923-4D46-B00E-06E90DCF2755}" type="presParOf" srcId="{06ACDF27-B679-452D-A237-B4FF0D337C58}" destId="{25B4698E-19E4-49BA-AD8F-439BF5916E97}" srcOrd="11" destOrd="0" presId="urn:microsoft.com/office/officeart/2005/8/layout/list1"/>
    <dgm:cxn modelId="{D1C436BE-CD4D-48D1-BBAE-C2A62DF4A878}" type="presParOf" srcId="{06ACDF27-B679-452D-A237-B4FF0D337C58}" destId="{7E4CAF4A-BBF4-4EA7-AA15-D19AF276FEE8}" srcOrd="12" destOrd="0" presId="urn:microsoft.com/office/officeart/2005/8/layout/list1"/>
    <dgm:cxn modelId="{65B9DEDF-65F6-4F83-8F54-436AAD9ABABC}" type="presParOf" srcId="{7E4CAF4A-BBF4-4EA7-AA15-D19AF276FEE8}" destId="{8057EF83-9A45-4BA2-93C7-163A74D640FF}" srcOrd="0" destOrd="0" presId="urn:microsoft.com/office/officeart/2005/8/layout/list1"/>
    <dgm:cxn modelId="{53057765-0DB1-41B6-A7DB-B1A22B4E27A0}" type="presParOf" srcId="{7E4CAF4A-BBF4-4EA7-AA15-D19AF276FEE8}" destId="{B154533B-8DBD-4DE1-9E1A-9A39D495A738}" srcOrd="1" destOrd="0" presId="urn:microsoft.com/office/officeart/2005/8/layout/list1"/>
    <dgm:cxn modelId="{628AF691-EDD9-409E-976D-2DF433601778}" type="presParOf" srcId="{06ACDF27-B679-452D-A237-B4FF0D337C58}" destId="{D65F2CDD-BAD7-4E7F-8AC1-7D8251FEB76C}" srcOrd="13" destOrd="0" presId="urn:microsoft.com/office/officeart/2005/8/layout/list1"/>
    <dgm:cxn modelId="{F7190593-2909-467C-A395-809D1E1F989B}" type="presParOf" srcId="{06ACDF27-B679-452D-A237-B4FF0D337C58}" destId="{86E4CA4F-BC69-4D24-BB93-C24C69161AF9}"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0859391-ABF8-4E04-B336-8844ACAC15D6}" type="doc">
      <dgm:prSet loTypeId="urn:microsoft.com/office/officeart/2005/8/layout/hProcess9" loCatId="process" qsTypeId="urn:microsoft.com/office/officeart/2005/8/quickstyle/simple1" qsCatId="simple" csTypeId="urn:microsoft.com/office/officeart/2005/8/colors/accent1_2" csCatId="accent1" phldr="1"/>
      <dgm:spPr/>
    </dgm:pt>
    <dgm:pt modelId="{ACE9B554-BD99-48D3-9526-B17BF33FD0E9}">
      <dgm:prSet phldrT="[Text]"/>
      <dgm:spPr/>
      <dgm:t>
        <a:bodyPr/>
        <a:lstStyle/>
        <a:p>
          <a:r>
            <a:rPr lang="en-IN" dirty="0"/>
            <a:t>Data collection</a:t>
          </a:r>
        </a:p>
      </dgm:t>
    </dgm:pt>
    <dgm:pt modelId="{776E4529-9A0C-4F29-A0D6-A64D1AB6330C}" type="parTrans" cxnId="{643C4ABB-C89E-4298-824A-15CFAEF2367F}">
      <dgm:prSet/>
      <dgm:spPr/>
      <dgm:t>
        <a:bodyPr/>
        <a:lstStyle/>
        <a:p>
          <a:endParaRPr lang="en-IN"/>
        </a:p>
      </dgm:t>
    </dgm:pt>
    <dgm:pt modelId="{24673DF8-D8C6-4601-A6E0-D46F56BDEBF3}" type="sibTrans" cxnId="{643C4ABB-C89E-4298-824A-15CFAEF2367F}">
      <dgm:prSet/>
      <dgm:spPr/>
      <dgm:t>
        <a:bodyPr/>
        <a:lstStyle/>
        <a:p>
          <a:endParaRPr lang="en-IN"/>
        </a:p>
      </dgm:t>
    </dgm:pt>
    <dgm:pt modelId="{509911F6-65CE-4872-9022-4FC376B831B8}">
      <dgm:prSet phldrT="[Text]"/>
      <dgm:spPr/>
      <dgm:t>
        <a:bodyPr/>
        <a:lstStyle/>
        <a:p>
          <a:r>
            <a:rPr lang="en-IN" dirty="0"/>
            <a:t>Data preprocessing  </a:t>
          </a:r>
        </a:p>
      </dgm:t>
    </dgm:pt>
    <dgm:pt modelId="{AFB7DD39-362B-4A23-8167-BB7F35DD01EA}" type="parTrans" cxnId="{C642A9FA-900E-4A6C-A2C9-C1C26F0643C8}">
      <dgm:prSet/>
      <dgm:spPr/>
      <dgm:t>
        <a:bodyPr/>
        <a:lstStyle/>
        <a:p>
          <a:endParaRPr lang="en-IN"/>
        </a:p>
      </dgm:t>
    </dgm:pt>
    <dgm:pt modelId="{2981F63B-9EA9-4B38-B5CF-00653C7360C7}" type="sibTrans" cxnId="{C642A9FA-900E-4A6C-A2C9-C1C26F0643C8}">
      <dgm:prSet/>
      <dgm:spPr/>
      <dgm:t>
        <a:bodyPr/>
        <a:lstStyle/>
        <a:p>
          <a:endParaRPr lang="en-IN"/>
        </a:p>
      </dgm:t>
    </dgm:pt>
    <dgm:pt modelId="{8FCB09B1-10D3-489A-9413-F8161D89FB34}">
      <dgm:prSet phldrT="[Text]"/>
      <dgm:spPr/>
      <dgm:t>
        <a:bodyPr/>
        <a:lstStyle/>
        <a:p>
          <a:r>
            <a:rPr lang="en-IN" dirty="0"/>
            <a:t>Model evaluation  </a:t>
          </a:r>
        </a:p>
      </dgm:t>
    </dgm:pt>
    <dgm:pt modelId="{358BA261-3FD7-460A-BA09-445C111B01E3}" type="parTrans" cxnId="{8D60B0A5-5A7A-4412-B236-4ABE8C062613}">
      <dgm:prSet/>
      <dgm:spPr/>
      <dgm:t>
        <a:bodyPr/>
        <a:lstStyle/>
        <a:p>
          <a:endParaRPr lang="en-IN"/>
        </a:p>
      </dgm:t>
    </dgm:pt>
    <dgm:pt modelId="{CD2660E0-8143-4E0A-8CD8-E003AFF7E004}" type="sibTrans" cxnId="{8D60B0A5-5A7A-4412-B236-4ABE8C062613}">
      <dgm:prSet/>
      <dgm:spPr/>
      <dgm:t>
        <a:bodyPr/>
        <a:lstStyle/>
        <a:p>
          <a:endParaRPr lang="en-IN"/>
        </a:p>
      </dgm:t>
    </dgm:pt>
    <dgm:pt modelId="{978EB8C1-046D-4F85-BBB6-9955EB4EC291}">
      <dgm:prSet phldrT="[Text]"/>
      <dgm:spPr/>
      <dgm:t>
        <a:bodyPr/>
        <a:lstStyle/>
        <a:p>
          <a:r>
            <a:rPr lang="en-IN" dirty="0"/>
            <a:t>Model training </a:t>
          </a:r>
        </a:p>
      </dgm:t>
    </dgm:pt>
    <dgm:pt modelId="{82B45093-ECB1-48D7-8FF5-08850332F07F}" type="parTrans" cxnId="{25FD2A57-FEC2-42AB-A0B3-5ADB45143CB3}">
      <dgm:prSet/>
      <dgm:spPr/>
      <dgm:t>
        <a:bodyPr/>
        <a:lstStyle/>
        <a:p>
          <a:endParaRPr lang="en-IN"/>
        </a:p>
      </dgm:t>
    </dgm:pt>
    <dgm:pt modelId="{23F47123-4915-4116-8789-D75CB46E0968}" type="sibTrans" cxnId="{25FD2A57-FEC2-42AB-A0B3-5ADB45143CB3}">
      <dgm:prSet/>
      <dgm:spPr/>
      <dgm:t>
        <a:bodyPr/>
        <a:lstStyle/>
        <a:p>
          <a:endParaRPr lang="en-IN"/>
        </a:p>
      </dgm:t>
    </dgm:pt>
    <dgm:pt modelId="{E059B08B-5DCE-43A2-A050-954460B47A16}" type="pres">
      <dgm:prSet presAssocID="{20859391-ABF8-4E04-B336-8844ACAC15D6}" presName="CompostProcess" presStyleCnt="0">
        <dgm:presLayoutVars>
          <dgm:dir/>
          <dgm:resizeHandles val="exact"/>
        </dgm:presLayoutVars>
      </dgm:prSet>
      <dgm:spPr/>
    </dgm:pt>
    <dgm:pt modelId="{6A1A205C-2B0D-4C7C-B9AF-50573FDB321D}" type="pres">
      <dgm:prSet presAssocID="{20859391-ABF8-4E04-B336-8844ACAC15D6}" presName="arrow" presStyleLbl="bgShp" presStyleIdx="0" presStyleCnt="1"/>
      <dgm:spPr/>
    </dgm:pt>
    <dgm:pt modelId="{9861BBC7-38B0-40B0-895B-221B7280297C}" type="pres">
      <dgm:prSet presAssocID="{20859391-ABF8-4E04-B336-8844ACAC15D6}" presName="linearProcess" presStyleCnt="0"/>
      <dgm:spPr/>
    </dgm:pt>
    <dgm:pt modelId="{18B77B7A-8A1B-4AD1-B403-250E52EDA0A7}" type="pres">
      <dgm:prSet presAssocID="{ACE9B554-BD99-48D3-9526-B17BF33FD0E9}" presName="textNode" presStyleLbl="node1" presStyleIdx="0" presStyleCnt="4">
        <dgm:presLayoutVars>
          <dgm:bulletEnabled val="1"/>
        </dgm:presLayoutVars>
      </dgm:prSet>
      <dgm:spPr/>
    </dgm:pt>
    <dgm:pt modelId="{B57553A8-23AB-4F4C-A145-D8CA314E9F8B}" type="pres">
      <dgm:prSet presAssocID="{24673DF8-D8C6-4601-A6E0-D46F56BDEBF3}" presName="sibTrans" presStyleCnt="0"/>
      <dgm:spPr/>
    </dgm:pt>
    <dgm:pt modelId="{AA3D576F-7160-4415-B5AC-4A010EDA3B9C}" type="pres">
      <dgm:prSet presAssocID="{509911F6-65CE-4872-9022-4FC376B831B8}" presName="textNode" presStyleLbl="node1" presStyleIdx="1" presStyleCnt="4">
        <dgm:presLayoutVars>
          <dgm:bulletEnabled val="1"/>
        </dgm:presLayoutVars>
      </dgm:prSet>
      <dgm:spPr/>
    </dgm:pt>
    <dgm:pt modelId="{1FB76E17-5222-43C8-B514-6A51FAC4511A}" type="pres">
      <dgm:prSet presAssocID="{2981F63B-9EA9-4B38-B5CF-00653C7360C7}" presName="sibTrans" presStyleCnt="0"/>
      <dgm:spPr/>
    </dgm:pt>
    <dgm:pt modelId="{B20DABB3-F05D-489F-8717-74868B78903D}" type="pres">
      <dgm:prSet presAssocID="{978EB8C1-046D-4F85-BBB6-9955EB4EC291}" presName="textNode" presStyleLbl="node1" presStyleIdx="2" presStyleCnt="4">
        <dgm:presLayoutVars>
          <dgm:bulletEnabled val="1"/>
        </dgm:presLayoutVars>
      </dgm:prSet>
      <dgm:spPr/>
    </dgm:pt>
    <dgm:pt modelId="{4A5EAF87-8F57-407A-A753-CA8DD2000036}" type="pres">
      <dgm:prSet presAssocID="{23F47123-4915-4116-8789-D75CB46E0968}" presName="sibTrans" presStyleCnt="0"/>
      <dgm:spPr/>
    </dgm:pt>
    <dgm:pt modelId="{F3660B7D-DE92-47B0-976C-B56539FF7865}" type="pres">
      <dgm:prSet presAssocID="{8FCB09B1-10D3-489A-9413-F8161D89FB34}" presName="textNode" presStyleLbl="node1" presStyleIdx="3" presStyleCnt="4">
        <dgm:presLayoutVars>
          <dgm:bulletEnabled val="1"/>
        </dgm:presLayoutVars>
      </dgm:prSet>
      <dgm:spPr/>
    </dgm:pt>
  </dgm:ptLst>
  <dgm:cxnLst>
    <dgm:cxn modelId="{D1724E0C-CBC0-44CA-A1FE-A050185275AC}" type="presOf" srcId="{8FCB09B1-10D3-489A-9413-F8161D89FB34}" destId="{F3660B7D-DE92-47B0-976C-B56539FF7865}" srcOrd="0" destOrd="0" presId="urn:microsoft.com/office/officeart/2005/8/layout/hProcess9"/>
    <dgm:cxn modelId="{0195662D-B59F-4D8A-A8F5-A26035E78872}" type="presOf" srcId="{20859391-ABF8-4E04-B336-8844ACAC15D6}" destId="{E059B08B-5DCE-43A2-A050-954460B47A16}" srcOrd="0" destOrd="0" presId="urn:microsoft.com/office/officeart/2005/8/layout/hProcess9"/>
    <dgm:cxn modelId="{25FD2A57-FEC2-42AB-A0B3-5ADB45143CB3}" srcId="{20859391-ABF8-4E04-B336-8844ACAC15D6}" destId="{978EB8C1-046D-4F85-BBB6-9955EB4EC291}" srcOrd="2" destOrd="0" parTransId="{82B45093-ECB1-48D7-8FF5-08850332F07F}" sibTransId="{23F47123-4915-4116-8789-D75CB46E0968}"/>
    <dgm:cxn modelId="{6E40D4A1-C1A3-43AF-BB47-BD1BC808983A}" type="presOf" srcId="{509911F6-65CE-4872-9022-4FC376B831B8}" destId="{AA3D576F-7160-4415-B5AC-4A010EDA3B9C}" srcOrd="0" destOrd="0" presId="urn:microsoft.com/office/officeart/2005/8/layout/hProcess9"/>
    <dgm:cxn modelId="{8D60B0A5-5A7A-4412-B236-4ABE8C062613}" srcId="{20859391-ABF8-4E04-B336-8844ACAC15D6}" destId="{8FCB09B1-10D3-489A-9413-F8161D89FB34}" srcOrd="3" destOrd="0" parTransId="{358BA261-3FD7-460A-BA09-445C111B01E3}" sibTransId="{CD2660E0-8143-4E0A-8CD8-E003AFF7E004}"/>
    <dgm:cxn modelId="{59F737B5-ABFF-4716-B8F5-9D94FA371D89}" type="presOf" srcId="{ACE9B554-BD99-48D3-9526-B17BF33FD0E9}" destId="{18B77B7A-8A1B-4AD1-B403-250E52EDA0A7}" srcOrd="0" destOrd="0" presId="urn:microsoft.com/office/officeart/2005/8/layout/hProcess9"/>
    <dgm:cxn modelId="{643C4ABB-C89E-4298-824A-15CFAEF2367F}" srcId="{20859391-ABF8-4E04-B336-8844ACAC15D6}" destId="{ACE9B554-BD99-48D3-9526-B17BF33FD0E9}" srcOrd="0" destOrd="0" parTransId="{776E4529-9A0C-4F29-A0D6-A64D1AB6330C}" sibTransId="{24673DF8-D8C6-4601-A6E0-D46F56BDEBF3}"/>
    <dgm:cxn modelId="{B76C7CEE-7239-41FB-B311-7441237B1933}" type="presOf" srcId="{978EB8C1-046D-4F85-BBB6-9955EB4EC291}" destId="{B20DABB3-F05D-489F-8717-74868B78903D}" srcOrd="0" destOrd="0" presId="urn:microsoft.com/office/officeart/2005/8/layout/hProcess9"/>
    <dgm:cxn modelId="{C642A9FA-900E-4A6C-A2C9-C1C26F0643C8}" srcId="{20859391-ABF8-4E04-B336-8844ACAC15D6}" destId="{509911F6-65CE-4872-9022-4FC376B831B8}" srcOrd="1" destOrd="0" parTransId="{AFB7DD39-362B-4A23-8167-BB7F35DD01EA}" sibTransId="{2981F63B-9EA9-4B38-B5CF-00653C7360C7}"/>
    <dgm:cxn modelId="{DE8A3B82-0824-4EA7-8445-940FD359435F}" type="presParOf" srcId="{E059B08B-5DCE-43A2-A050-954460B47A16}" destId="{6A1A205C-2B0D-4C7C-B9AF-50573FDB321D}" srcOrd="0" destOrd="0" presId="urn:microsoft.com/office/officeart/2005/8/layout/hProcess9"/>
    <dgm:cxn modelId="{E3C82F31-6133-4BFB-97E8-1C8B4C635B1B}" type="presParOf" srcId="{E059B08B-5DCE-43A2-A050-954460B47A16}" destId="{9861BBC7-38B0-40B0-895B-221B7280297C}" srcOrd="1" destOrd="0" presId="urn:microsoft.com/office/officeart/2005/8/layout/hProcess9"/>
    <dgm:cxn modelId="{844C9756-26BB-4844-805D-7267017F58B2}" type="presParOf" srcId="{9861BBC7-38B0-40B0-895B-221B7280297C}" destId="{18B77B7A-8A1B-4AD1-B403-250E52EDA0A7}" srcOrd="0" destOrd="0" presId="urn:microsoft.com/office/officeart/2005/8/layout/hProcess9"/>
    <dgm:cxn modelId="{E10F2D42-D1AB-4316-B8F7-9485EF73DD1D}" type="presParOf" srcId="{9861BBC7-38B0-40B0-895B-221B7280297C}" destId="{B57553A8-23AB-4F4C-A145-D8CA314E9F8B}" srcOrd="1" destOrd="0" presId="urn:microsoft.com/office/officeart/2005/8/layout/hProcess9"/>
    <dgm:cxn modelId="{52E5F767-ACA5-4366-8D8D-5D9A309F3B8C}" type="presParOf" srcId="{9861BBC7-38B0-40B0-895B-221B7280297C}" destId="{AA3D576F-7160-4415-B5AC-4A010EDA3B9C}" srcOrd="2" destOrd="0" presId="urn:microsoft.com/office/officeart/2005/8/layout/hProcess9"/>
    <dgm:cxn modelId="{A8B38C5B-3391-4428-AB9C-CFA29C94C172}" type="presParOf" srcId="{9861BBC7-38B0-40B0-895B-221B7280297C}" destId="{1FB76E17-5222-43C8-B514-6A51FAC4511A}" srcOrd="3" destOrd="0" presId="urn:microsoft.com/office/officeart/2005/8/layout/hProcess9"/>
    <dgm:cxn modelId="{F0BCE07A-D9C2-4D78-B165-36A984A5FE6E}" type="presParOf" srcId="{9861BBC7-38B0-40B0-895B-221B7280297C}" destId="{B20DABB3-F05D-489F-8717-74868B78903D}" srcOrd="4" destOrd="0" presId="urn:microsoft.com/office/officeart/2005/8/layout/hProcess9"/>
    <dgm:cxn modelId="{5DAA1E49-253C-4AD7-8D23-91EEDAE7A613}" type="presParOf" srcId="{9861BBC7-38B0-40B0-895B-221B7280297C}" destId="{4A5EAF87-8F57-407A-A753-CA8DD2000036}" srcOrd="5" destOrd="0" presId="urn:microsoft.com/office/officeart/2005/8/layout/hProcess9"/>
    <dgm:cxn modelId="{70360AFF-FDCB-413E-8F00-E1A811265E4A}" type="presParOf" srcId="{9861BBC7-38B0-40B0-895B-221B7280297C}" destId="{F3660B7D-DE92-47B0-976C-B56539FF7865}" srcOrd="6"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1D6A1-11CD-4068-8BD4-E1A732D1952B}">
      <dsp:nvSpPr>
        <dsp:cNvPr id="0" name=""/>
        <dsp:cNvSpPr/>
      </dsp:nvSpPr>
      <dsp:spPr>
        <a:xfrm>
          <a:off x="5983" y="65858"/>
          <a:ext cx="2828221"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Exploration</a:t>
          </a:r>
          <a:endParaRPr lang="en-IN" sz="1800" b="1" kern="1200" dirty="0"/>
        </a:p>
      </dsp:txBody>
      <dsp:txXfrm>
        <a:off x="5983" y="65858"/>
        <a:ext cx="2828221" cy="518400"/>
      </dsp:txXfrm>
    </dsp:sp>
    <dsp:sp modelId="{3D223AFC-2EBA-4DEA-ACF0-22C0C72A64BE}">
      <dsp:nvSpPr>
        <dsp:cNvPr id="0" name=""/>
        <dsp:cNvSpPr/>
      </dsp:nvSpPr>
      <dsp:spPr>
        <a:xfrm>
          <a:off x="2003" y="584258"/>
          <a:ext cx="2836180"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just" defTabSz="800100">
            <a:lnSpc>
              <a:spcPct val="90000"/>
            </a:lnSpc>
            <a:spcBef>
              <a:spcPct val="0"/>
            </a:spcBef>
            <a:spcAft>
              <a:spcPct val="15000"/>
            </a:spcAft>
            <a:buChar char="•"/>
          </a:pPr>
          <a:r>
            <a:rPr lang="en-US" sz="1800" kern="1200" dirty="0"/>
            <a:t>Examined the first few rows, summary statistics, and data types.</a:t>
          </a:r>
          <a:endParaRPr lang="en-IN" sz="1800" kern="1200" dirty="0"/>
        </a:p>
        <a:p>
          <a:pPr marL="171450" lvl="1" indent="-171450" algn="just" defTabSz="800100">
            <a:lnSpc>
              <a:spcPct val="90000"/>
            </a:lnSpc>
            <a:spcBef>
              <a:spcPct val="0"/>
            </a:spcBef>
            <a:spcAft>
              <a:spcPct val="15000"/>
            </a:spcAft>
            <a:buChar char="•"/>
          </a:pPr>
          <a:r>
            <a:rPr lang="en-US" sz="1800" kern="1200" dirty="0"/>
            <a:t>Checked for missing values</a:t>
          </a:r>
          <a:endParaRPr lang="en-IN" sz="1800" kern="1200" dirty="0"/>
        </a:p>
        <a:p>
          <a:pPr marL="171450" lvl="1" indent="-171450" algn="just" defTabSz="800100">
            <a:lnSpc>
              <a:spcPct val="90000"/>
            </a:lnSpc>
            <a:spcBef>
              <a:spcPct val="0"/>
            </a:spcBef>
            <a:spcAft>
              <a:spcPct val="15000"/>
            </a:spcAft>
            <a:buChar char="•"/>
          </a:pPr>
          <a:r>
            <a:rPr lang="en-US" sz="1800" kern="1200" dirty="0"/>
            <a:t>Analyzed distributions of key variables, such as </a:t>
          </a:r>
          <a:r>
            <a:rPr lang="en-US" sz="1800" kern="1200" dirty="0" err="1"/>
            <a:t>DeviceType</a:t>
          </a:r>
          <a:r>
            <a:rPr lang="en-US" sz="1800" kern="1200" dirty="0"/>
            <a:t> and </a:t>
          </a:r>
          <a:r>
            <a:rPr lang="en-US" sz="1800" kern="1200" dirty="0" err="1"/>
            <a:t>UsageHoursPerDay</a:t>
          </a:r>
          <a:r>
            <a:rPr lang="en-US" sz="1800" kern="1200" dirty="0"/>
            <a:t>.</a:t>
          </a:r>
          <a:endParaRPr lang="en-IN" sz="1800" kern="1200" dirty="0"/>
        </a:p>
      </dsp:txBody>
      <dsp:txXfrm>
        <a:off x="2003" y="584258"/>
        <a:ext cx="2836180" cy="3043246"/>
      </dsp:txXfrm>
    </dsp:sp>
    <dsp:sp modelId="{67B19E24-B723-48DC-B640-43429A84723C}">
      <dsp:nvSpPr>
        <dsp:cNvPr id="0" name=""/>
        <dsp:cNvSpPr/>
      </dsp:nvSpPr>
      <dsp:spPr>
        <a:xfrm>
          <a:off x="3182079"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IN" sz="1800" b="1" kern="1200" dirty="0"/>
            <a:t>Data Cleaning</a:t>
          </a:r>
        </a:p>
      </dsp:txBody>
      <dsp:txXfrm>
        <a:off x="3182079" y="65858"/>
        <a:ext cx="2456396" cy="518400"/>
      </dsp:txXfrm>
    </dsp:sp>
    <dsp:sp modelId="{211938FD-4188-47A2-83FD-586905BDCD5B}">
      <dsp:nvSpPr>
        <dsp:cNvPr id="0" name=""/>
        <dsp:cNvSpPr/>
      </dsp:nvSpPr>
      <dsp:spPr>
        <a:xfrm>
          <a:off x="3182079"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IN" sz="1800" kern="1200" dirty="0"/>
            <a:t>Dropped irrelevant columns like user id .</a:t>
          </a:r>
        </a:p>
        <a:p>
          <a:pPr marL="171450" lvl="1" indent="-171450" algn="l" defTabSz="800100">
            <a:lnSpc>
              <a:spcPct val="90000"/>
            </a:lnSpc>
            <a:spcBef>
              <a:spcPct val="0"/>
            </a:spcBef>
            <a:spcAft>
              <a:spcPct val="15000"/>
            </a:spcAft>
            <a:buChar char="•"/>
          </a:pPr>
          <a:endParaRPr lang="en-IN" sz="1800" kern="1200" dirty="0"/>
        </a:p>
      </dsp:txBody>
      <dsp:txXfrm>
        <a:off x="3182079" y="584258"/>
        <a:ext cx="2456396" cy="3043246"/>
      </dsp:txXfrm>
    </dsp:sp>
    <dsp:sp modelId="{3615B173-DC68-4815-91EB-4D908F351DB7}">
      <dsp:nvSpPr>
        <dsp:cNvPr id="0" name=""/>
        <dsp:cNvSpPr/>
      </dsp:nvSpPr>
      <dsp:spPr>
        <a:xfrm>
          <a:off x="5982371"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Pre-Processing</a:t>
          </a:r>
          <a:endParaRPr lang="en-IN" sz="1800" b="1" kern="1200" dirty="0"/>
        </a:p>
      </dsp:txBody>
      <dsp:txXfrm>
        <a:off x="5982371" y="65858"/>
        <a:ext cx="2456396" cy="518400"/>
      </dsp:txXfrm>
    </dsp:sp>
    <dsp:sp modelId="{93DD3026-4235-43A6-A006-754051FE3B63}">
      <dsp:nvSpPr>
        <dsp:cNvPr id="0" name=""/>
        <dsp:cNvSpPr/>
      </dsp:nvSpPr>
      <dsp:spPr>
        <a:xfrm>
          <a:off x="5982371"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pplied </a:t>
          </a:r>
          <a:r>
            <a:rPr lang="en-US" sz="1800" b="1" kern="1200" dirty="0" err="1"/>
            <a:t>StandardScale</a:t>
          </a:r>
          <a:r>
            <a:rPr lang="en-US" sz="1800" kern="1200" dirty="0" err="1"/>
            <a:t>r</a:t>
          </a:r>
          <a:r>
            <a:rPr lang="en-US" sz="1800" kern="1200" dirty="0"/>
            <a:t> to numerical features and </a:t>
          </a:r>
          <a:r>
            <a:rPr lang="en-US" sz="1800" b="1" kern="1200" dirty="0" err="1"/>
            <a:t>OneHotEncoder</a:t>
          </a:r>
          <a:r>
            <a:rPr lang="en-US" sz="1800" kern="1200" dirty="0"/>
            <a:t> to categorical features to standardize and encode the data.</a:t>
          </a:r>
          <a:endParaRPr lang="en-IN" sz="1800" kern="1200" dirty="0"/>
        </a:p>
      </dsp:txBody>
      <dsp:txXfrm>
        <a:off x="5982371" y="584258"/>
        <a:ext cx="2456396" cy="30432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C82C3D-6326-4BC2-9900-6FCD9DCF66BC}">
      <dsp:nvSpPr>
        <dsp:cNvPr id="0" name=""/>
        <dsp:cNvSpPr/>
      </dsp:nvSpPr>
      <dsp:spPr>
        <a:xfrm>
          <a:off x="2442"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User centric </a:t>
          </a:r>
          <a:r>
            <a:rPr lang="en-IN" sz="2300" kern="1200" dirty="0" err="1"/>
            <a:t>streamlit</a:t>
          </a:r>
          <a:r>
            <a:rPr lang="en-IN" sz="2300" kern="1200" dirty="0"/>
            <a:t> design</a:t>
          </a:r>
        </a:p>
      </dsp:txBody>
      <dsp:txXfrm>
        <a:off x="2442" y="1265350"/>
        <a:ext cx="2381541" cy="834716"/>
      </dsp:txXfrm>
    </dsp:sp>
    <dsp:sp modelId="{D68DCCAA-D76B-4623-9C18-A255C6358BE1}">
      <dsp:nvSpPr>
        <dsp:cNvPr id="0" name=""/>
        <dsp:cNvSpPr/>
      </dsp:nvSpPr>
      <dsp:spPr>
        <a:xfrm>
          <a:off x="2442"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User friendly interface which allows easy navigation</a:t>
          </a:r>
        </a:p>
      </dsp:txBody>
      <dsp:txXfrm>
        <a:off x="2442" y="2100066"/>
        <a:ext cx="2381541" cy="1609942"/>
      </dsp:txXfrm>
    </dsp:sp>
    <dsp:sp modelId="{E9C227DB-6531-46DC-8666-3CEEAA788992}">
      <dsp:nvSpPr>
        <dsp:cNvPr id="0" name=""/>
        <dsp:cNvSpPr/>
      </dsp:nvSpPr>
      <dsp:spPr>
        <a:xfrm>
          <a:off x="2717400"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Accessibility features </a:t>
          </a:r>
        </a:p>
      </dsp:txBody>
      <dsp:txXfrm>
        <a:off x="2717400" y="1265350"/>
        <a:ext cx="2381541" cy="834716"/>
      </dsp:txXfrm>
    </dsp:sp>
    <dsp:sp modelId="{DD8E226E-4038-4D72-AD67-5AE91D8728EF}">
      <dsp:nvSpPr>
        <dsp:cNvPr id="0" name=""/>
        <dsp:cNvSpPr/>
      </dsp:nvSpPr>
      <dsp:spPr>
        <a:xfrm>
          <a:off x="2717400"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Good colour contrast and font size</a:t>
          </a:r>
        </a:p>
      </dsp:txBody>
      <dsp:txXfrm>
        <a:off x="2717400" y="2100066"/>
        <a:ext cx="2381541" cy="1609942"/>
      </dsp:txXfrm>
    </dsp:sp>
    <dsp:sp modelId="{03001F4A-42EB-4C1E-94DC-A2D074844536}">
      <dsp:nvSpPr>
        <dsp:cNvPr id="0" name=""/>
        <dsp:cNvSpPr/>
      </dsp:nvSpPr>
      <dsp:spPr>
        <a:xfrm>
          <a:off x="5432357"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Clear Visualizations </a:t>
          </a:r>
        </a:p>
      </dsp:txBody>
      <dsp:txXfrm>
        <a:off x="5432357" y="1265350"/>
        <a:ext cx="2381541" cy="834716"/>
      </dsp:txXfrm>
    </dsp:sp>
    <dsp:sp modelId="{E32EE3E5-906A-420F-85B2-1320809C07C0}">
      <dsp:nvSpPr>
        <dsp:cNvPr id="0" name=""/>
        <dsp:cNvSpPr/>
      </dsp:nvSpPr>
      <dsp:spPr>
        <a:xfrm>
          <a:off x="5432357"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Presenting data in an understandable manner </a:t>
          </a:r>
        </a:p>
      </dsp:txBody>
      <dsp:txXfrm>
        <a:off x="5432357" y="2100066"/>
        <a:ext cx="2381541" cy="16099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DEF8CB-0558-46C7-BD95-9012FFD784F3}">
      <dsp:nvSpPr>
        <dsp:cNvPr id="0" name=""/>
        <dsp:cNvSpPr/>
      </dsp:nvSpPr>
      <dsp:spPr>
        <a:xfrm>
          <a:off x="26" y="13152"/>
          <a:ext cx="2524083" cy="90102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IN" sz="2500" kern="1200" dirty="0" err="1"/>
            <a:t>Streamlit</a:t>
          </a:r>
          <a:r>
            <a:rPr lang="en-IN" sz="2500" kern="1200" dirty="0"/>
            <a:t> sharing</a:t>
          </a:r>
        </a:p>
      </dsp:txBody>
      <dsp:txXfrm>
        <a:off x="26" y="13152"/>
        <a:ext cx="2524083" cy="901020"/>
      </dsp:txXfrm>
    </dsp:sp>
    <dsp:sp modelId="{32F236AD-689D-4B21-BD50-74467CE87C38}">
      <dsp:nvSpPr>
        <dsp:cNvPr id="0" name=""/>
        <dsp:cNvSpPr/>
      </dsp:nvSpPr>
      <dsp:spPr>
        <a:xfrm>
          <a:off x="26" y="914173"/>
          <a:ext cx="2524083" cy="17499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IN" sz="2400" kern="1200" dirty="0"/>
            <a:t>Ideal for quick deployment </a:t>
          </a:r>
        </a:p>
      </dsp:txBody>
      <dsp:txXfrm>
        <a:off x="26" y="914173"/>
        <a:ext cx="2524083" cy="1749937"/>
      </dsp:txXfrm>
    </dsp:sp>
    <dsp:sp modelId="{0176FF65-1843-48F7-9526-0B70C85BCD7D}">
      <dsp:nvSpPr>
        <dsp:cNvPr id="0" name=""/>
        <dsp:cNvSpPr/>
      </dsp:nvSpPr>
      <dsp:spPr>
        <a:xfrm>
          <a:off x="2877481" y="13152"/>
          <a:ext cx="2524083" cy="90102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IN" sz="2500" kern="1200" dirty="0"/>
            <a:t>GitHub</a:t>
          </a:r>
        </a:p>
      </dsp:txBody>
      <dsp:txXfrm>
        <a:off x="2877481" y="13152"/>
        <a:ext cx="2524083" cy="901020"/>
      </dsp:txXfrm>
    </dsp:sp>
    <dsp:sp modelId="{25B60CF2-47D3-49B5-A24E-0931A59D1112}">
      <dsp:nvSpPr>
        <dsp:cNvPr id="0" name=""/>
        <dsp:cNvSpPr/>
      </dsp:nvSpPr>
      <dsp:spPr>
        <a:xfrm>
          <a:off x="2877481" y="914173"/>
          <a:ext cx="2524083" cy="17499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IN" sz="2500" kern="1200" dirty="0"/>
            <a:t>Pushing the app to GitHub and connecting to </a:t>
          </a:r>
          <a:r>
            <a:rPr lang="en-IN" sz="2500" kern="1200" dirty="0" err="1"/>
            <a:t>streamlit</a:t>
          </a:r>
          <a:endParaRPr lang="en-IN" sz="2500" kern="1200" dirty="0"/>
        </a:p>
      </dsp:txBody>
      <dsp:txXfrm>
        <a:off x="2877481" y="914173"/>
        <a:ext cx="2524083" cy="174993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D6A4C-425E-4430-9987-9FD1D58FA9CE}">
      <dsp:nvSpPr>
        <dsp:cNvPr id="0" name=""/>
        <dsp:cNvSpPr/>
      </dsp:nvSpPr>
      <dsp:spPr>
        <a:xfrm>
          <a:off x="0" y="781902"/>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6984B9-5EF7-490C-9C7F-E9DE0AA1872F}">
      <dsp:nvSpPr>
        <dsp:cNvPr id="0" name=""/>
        <dsp:cNvSpPr/>
      </dsp:nvSpPr>
      <dsp:spPr>
        <a:xfrm>
          <a:off x="574574" y="26335"/>
          <a:ext cx="8598039" cy="9769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Advanced Analytics – To integrate more sophisticated features such as trend analysis to offer deep insights</a:t>
          </a:r>
        </a:p>
      </dsp:txBody>
      <dsp:txXfrm>
        <a:off x="622266" y="74027"/>
        <a:ext cx="8502655" cy="881583"/>
      </dsp:txXfrm>
    </dsp:sp>
    <dsp:sp modelId="{497420D4-016C-4B63-B9D9-BE4A04355091}">
      <dsp:nvSpPr>
        <dsp:cNvPr id="0" name=""/>
        <dsp:cNvSpPr/>
      </dsp:nvSpPr>
      <dsp:spPr>
        <a:xfrm>
          <a:off x="0" y="2005994"/>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5C483C-359D-454C-88B4-18081CDF47B6}">
      <dsp:nvSpPr>
        <dsp:cNvPr id="0" name=""/>
        <dsp:cNvSpPr/>
      </dsp:nvSpPr>
      <dsp:spPr>
        <a:xfrm>
          <a:off x="574574" y="1240902"/>
          <a:ext cx="9236656" cy="9864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ulti-platform support- extend support to additional platforms, such as mobile apps or integration with voice assistants.</a:t>
          </a:r>
        </a:p>
      </dsp:txBody>
      <dsp:txXfrm>
        <a:off x="622731" y="1289059"/>
        <a:ext cx="9140342" cy="890177"/>
      </dsp:txXfrm>
    </dsp:sp>
    <dsp:sp modelId="{01776C4E-5806-42C5-B45A-840E2721FF62}">
      <dsp:nvSpPr>
        <dsp:cNvPr id="0" name=""/>
        <dsp:cNvSpPr/>
      </dsp:nvSpPr>
      <dsp:spPr>
        <a:xfrm>
          <a:off x="0" y="3283107"/>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CF8E99-EFE7-4E7F-85AA-88B5F02B078B}">
      <dsp:nvSpPr>
        <dsp:cNvPr id="0" name=""/>
        <dsp:cNvSpPr/>
      </dsp:nvSpPr>
      <dsp:spPr>
        <a:xfrm>
          <a:off x="574574" y="2464994"/>
          <a:ext cx="9588181" cy="10395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arket expansion- explore opportunities to enter new markets or industry segments by adapting the solution to meet specific needs and regulations</a:t>
          </a:r>
        </a:p>
      </dsp:txBody>
      <dsp:txXfrm>
        <a:off x="625319" y="2515739"/>
        <a:ext cx="9486691" cy="938022"/>
      </dsp:txXfrm>
    </dsp:sp>
    <dsp:sp modelId="{86E4CA4F-BC69-4D24-BB93-C24C69161AF9}">
      <dsp:nvSpPr>
        <dsp:cNvPr id="0" name=""/>
        <dsp:cNvSpPr/>
      </dsp:nvSpPr>
      <dsp:spPr>
        <a:xfrm>
          <a:off x="0" y="4583746"/>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54533B-8DBD-4DE1-9E1A-9A39D495A738}">
      <dsp:nvSpPr>
        <dsp:cNvPr id="0" name=""/>
        <dsp:cNvSpPr/>
      </dsp:nvSpPr>
      <dsp:spPr>
        <a:xfrm>
          <a:off x="637128" y="3732007"/>
          <a:ext cx="10309973" cy="10630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Innovation</a:t>
          </a:r>
          <a:r>
            <a:rPr lang="en-IN" sz="2000" kern="1200" baseline="0" dirty="0"/>
            <a:t> and R&amp;D- Invest in research and development to stay ahead of technological advancements and incorporate innovative solutions.  </a:t>
          </a:r>
          <a:endParaRPr lang="en-IN" sz="2000" kern="1200" dirty="0"/>
        </a:p>
      </dsp:txBody>
      <dsp:txXfrm>
        <a:off x="689021" y="3783900"/>
        <a:ext cx="10206187" cy="9592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1A205C-2B0D-4C7C-B9AF-50573FDB321D}">
      <dsp:nvSpPr>
        <dsp:cNvPr id="0" name=""/>
        <dsp:cNvSpPr/>
      </dsp:nvSpPr>
      <dsp:spPr>
        <a:xfrm>
          <a:off x="844248" y="0"/>
          <a:ext cx="9568155" cy="379105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B77B7A-8A1B-4AD1-B403-250E52EDA0A7}">
      <dsp:nvSpPr>
        <dsp:cNvPr id="0" name=""/>
        <dsp:cNvSpPr/>
      </dsp:nvSpPr>
      <dsp:spPr>
        <a:xfrm>
          <a:off x="7061"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collection</a:t>
          </a:r>
        </a:p>
      </dsp:txBody>
      <dsp:txXfrm>
        <a:off x="81087" y="1211343"/>
        <a:ext cx="2503253" cy="1368371"/>
      </dsp:txXfrm>
    </dsp:sp>
    <dsp:sp modelId="{AA3D576F-7160-4415-B5AC-4A010EDA3B9C}">
      <dsp:nvSpPr>
        <dsp:cNvPr id="0" name=""/>
        <dsp:cNvSpPr/>
      </dsp:nvSpPr>
      <dsp:spPr>
        <a:xfrm>
          <a:off x="2870803"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preprocessing  </a:t>
          </a:r>
        </a:p>
      </dsp:txBody>
      <dsp:txXfrm>
        <a:off x="2944829" y="1211343"/>
        <a:ext cx="2503253" cy="1368371"/>
      </dsp:txXfrm>
    </dsp:sp>
    <dsp:sp modelId="{B20DABB3-F05D-489F-8717-74868B78903D}">
      <dsp:nvSpPr>
        <dsp:cNvPr id="0" name=""/>
        <dsp:cNvSpPr/>
      </dsp:nvSpPr>
      <dsp:spPr>
        <a:xfrm>
          <a:off x="5734544"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training </a:t>
          </a:r>
        </a:p>
      </dsp:txBody>
      <dsp:txXfrm>
        <a:off x="5808570" y="1211343"/>
        <a:ext cx="2503253" cy="1368371"/>
      </dsp:txXfrm>
    </dsp:sp>
    <dsp:sp modelId="{F3660B7D-DE92-47B0-976C-B56539FF7865}">
      <dsp:nvSpPr>
        <dsp:cNvPr id="0" name=""/>
        <dsp:cNvSpPr/>
      </dsp:nvSpPr>
      <dsp:spPr>
        <a:xfrm>
          <a:off x="8598286"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evaluation  </a:t>
          </a:r>
        </a:p>
      </dsp:txBody>
      <dsp:txXfrm>
        <a:off x="8672312" y="1211343"/>
        <a:ext cx="2503253" cy="136837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CED078-EB53-49AC-9E2E-4565B8686F31}" type="datetimeFigureOut">
              <a:rPr lang="en-IN" smtClean="0"/>
              <a:t>24-08-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27667D-E8A2-478C-A267-CA7ED1E9C253}" type="slidenum">
              <a:rPr lang="en-IN" smtClean="0"/>
              <a:t>‹#›</a:t>
            </a:fld>
            <a:endParaRPr lang="en-IN"/>
          </a:p>
        </p:txBody>
      </p:sp>
    </p:spTree>
    <p:extLst>
      <p:ext uri="{BB962C8B-B14F-4D97-AF65-F5344CB8AC3E}">
        <p14:creationId xmlns:p14="http://schemas.microsoft.com/office/powerpoint/2010/main" val="1280062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DC217-DF71-1A49-B3EA-559F1F43B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3858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7DC217-DF71-1A49-B3EA-559F1F43B0FF}" type="slidenum">
              <a:rPr lang="en-US" smtClean="0"/>
              <a:t>2</a:t>
            </a:fld>
            <a:endParaRPr lang="en-US" dirty="0"/>
          </a:p>
        </p:txBody>
      </p:sp>
    </p:spTree>
    <p:extLst>
      <p:ext uri="{BB962C8B-B14F-4D97-AF65-F5344CB8AC3E}">
        <p14:creationId xmlns:p14="http://schemas.microsoft.com/office/powerpoint/2010/main" val="2915247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DC217-DF71-1A49-B3EA-559F1F43B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743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DC217-DF71-1A49-B3EA-559F1F43B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4359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51379-56CB-8589-158E-664F4E3429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24F65628-205A-23F7-9893-E250BC0211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CDD39C0B-0561-7CC4-94FA-8726B4E19592}"/>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247218A1-2638-0F5B-4F0D-D0EEE9AB35A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63208A0-748B-1966-4D01-F6899AAEB688}"/>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33457885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5B042-9968-0D4F-1578-9A7EF3B6F0BF}"/>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96FA0A5-0DB5-4AAE-1AA5-903ACE9AD1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DF5A19B-5855-4887-5CF8-DB5D61D633DB}"/>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29A81A72-6CED-3A18-3B4E-197E9CBCE4D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8A75F29-29E0-FF7C-0205-1B2194A456BA}"/>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14191319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B758B1-ACBD-5E10-033F-49242034020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6D31E76-E091-13CD-E49D-0D32FFDE6A3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2807B4B-7FAD-E5F8-8B50-F18ADEB31E78}"/>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D67088B2-EF6F-DF7D-3FBE-F65AD4FCF71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2BB99B9-C0E4-D5F7-8914-8C3C899BED30}"/>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35640224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AC79249-FDC0-364D-A734-AE1DE1605D28}"/>
              </a:ext>
              <a:ext uri="{C183D7F6-B498-43B3-948B-1728B52AA6E4}">
                <adec:decorative xmlns:adec="http://schemas.microsoft.com/office/drawing/2017/decorative" val="1"/>
              </a:ext>
            </a:extLst>
          </p:cNvPr>
          <p:cNvSpPr/>
          <p:nvPr userDrawn="1"/>
        </p:nvSpPr>
        <p:spPr>
          <a:xfrm>
            <a:off x="0" y="4572000"/>
            <a:ext cx="121920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13537B6D-42A5-F449-2691-321A167F7C08}"/>
              </a:ext>
              <a:ext uri="{C183D7F6-B498-43B3-948B-1728B52AA6E4}">
                <adec:decorative xmlns:adec="http://schemas.microsoft.com/office/drawing/2017/decorative" val="1"/>
              </a:ext>
            </a:extLst>
          </p:cNvPr>
          <p:cNvGrpSpPr/>
          <p:nvPr userDrawn="1"/>
        </p:nvGrpSpPr>
        <p:grpSpPr>
          <a:xfrm>
            <a:off x="0" y="-3419"/>
            <a:ext cx="12192000" cy="6861419"/>
            <a:chOff x="0" y="-3419"/>
            <a:chExt cx="12192000" cy="6861419"/>
          </a:xfrm>
        </p:grpSpPr>
        <p:sp>
          <p:nvSpPr>
            <p:cNvPr id="5" name="Oval 4">
              <a:extLst>
                <a:ext uri="{FF2B5EF4-FFF2-40B4-BE49-F238E27FC236}">
                  <a16:creationId xmlns:a16="http://schemas.microsoft.com/office/drawing/2014/main" id="{902465C8-266D-104C-9C49-323DF4A8277E}"/>
                </a:ext>
              </a:extLst>
            </p:cNvPr>
            <p:cNvSpPr/>
            <p:nvPr userDrawn="1"/>
          </p:nvSpPr>
          <p:spPr>
            <a:xfrm>
              <a:off x="583746" y="4960030"/>
              <a:ext cx="1551214" cy="1551214"/>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a:extLst>
                <a:ext uri="{FF2B5EF4-FFF2-40B4-BE49-F238E27FC236}">
                  <a16:creationId xmlns:a16="http://schemas.microsoft.com/office/drawing/2014/main" id="{37979A1C-BF60-B345-A664-2E4F7A3461EB}"/>
                </a:ext>
              </a:extLst>
            </p:cNvPr>
            <p:cNvSpPr/>
            <p:nvPr userDrawn="1"/>
          </p:nvSpPr>
          <p:spPr>
            <a:xfrm>
              <a:off x="1" y="4571999"/>
              <a:ext cx="1118508" cy="1118508"/>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Freeform 8">
              <a:extLst>
                <a:ext uri="{FF2B5EF4-FFF2-40B4-BE49-F238E27FC236}">
                  <a16:creationId xmlns:a16="http://schemas.microsoft.com/office/drawing/2014/main" id="{58080B3E-915C-2D4C-8608-596E1BFD6387}"/>
                </a:ext>
              </a:extLst>
            </p:cNvPr>
            <p:cNvSpPr/>
            <p:nvPr userDrawn="1"/>
          </p:nvSpPr>
          <p:spPr>
            <a:xfrm>
              <a:off x="1" y="5739492"/>
              <a:ext cx="1118508" cy="1118508"/>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6" name="Group 5">
              <a:extLst>
                <a:ext uri="{FF2B5EF4-FFF2-40B4-BE49-F238E27FC236}">
                  <a16:creationId xmlns:a16="http://schemas.microsoft.com/office/drawing/2014/main" id="{F15FBB50-09C8-B64E-AE57-67C5E70810CB}"/>
                </a:ext>
              </a:extLst>
            </p:cNvPr>
            <p:cNvGrpSpPr/>
            <p:nvPr userDrawn="1"/>
          </p:nvGrpSpPr>
          <p:grpSpPr>
            <a:xfrm>
              <a:off x="8264427" y="-3419"/>
              <a:ext cx="3927573" cy="3165022"/>
              <a:chOff x="9857014" y="13834"/>
              <a:chExt cx="2334986" cy="1881641"/>
            </a:xfrm>
          </p:grpSpPr>
          <p:sp>
            <p:nvSpPr>
              <p:cNvPr id="15" name="Freeform 14">
                <a:extLst>
                  <a:ext uri="{FF2B5EF4-FFF2-40B4-BE49-F238E27FC236}">
                    <a16:creationId xmlns:a16="http://schemas.microsoft.com/office/drawing/2014/main" id="{EFBF1E52-11FA-DC48-B7AD-75734232FFE8}"/>
                  </a:ext>
                </a:extLst>
              </p:cNvPr>
              <p:cNvSpPr/>
              <p:nvPr userDrawn="1"/>
            </p:nvSpPr>
            <p:spPr>
              <a:xfrm rot="5400000" flipH="1" flipV="1">
                <a:off x="10667433"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15">
                <a:extLst>
                  <a:ext uri="{FF2B5EF4-FFF2-40B4-BE49-F238E27FC236}">
                    <a16:creationId xmlns:a16="http://schemas.microsoft.com/office/drawing/2014/main" id="{4850B620-49F5-3748-84AF-682555D52792}"/>
                  </a:ext>
                </a:extLst>
              </p:cNvPr>
              <p:cNvSpPr/>
              <p:nvPr userDrawn="1"/>
            </p:nvSpPr>
            <p:spPr>
              <a:xfrm rot="16200000" flipV="1">
                <a:off x="9499940"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2" name="Freeform 21">
              <a:extLst>
                <a:ext uri="{FF2B5EF4-FFF2-40B4-BE49-F238E27FC236}">
                  <a16:creationId xmlns:a16="http://schemas.microsoft.com/office/drawing/2014/main" id="{BC68F289-2744-2F48-893A-3F17911625C8}"/>
                </a:ext>
              </a:extLst>
            </p:cNvPr>
            <p:cNvSpPr/>
            <p:nvPr userDrawn="1"/>
          </p:nvSpPr>
          <p:spPr>
            <a:xfrm>
              <a:off x="0" y="-1"/>
              <a:ext cx="1167493" cy="1167493"/>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8" name="Freeform 27">
              <a:extLst>
                <a:ext uri="{FF2B5EF4-FFF2-40B4-BE49-F238E27FC236}">
                  <a16:creationId xmlns:a16="http://schemas.microsoft.com/office/drawing/2014/main" id="{9E240E8A-950E-7946-826C-415CB5DACA43}"/>
                </a:ext>
              </a:extLst>
            </p:cNvPr>
            <p:cNvSpPr/>
            <p:nvPr userDrawn="1"/>
          </p:nvSpPr>
          <p:spPr>
            <a:xfrm>
              <a:off x="11024507" y="4580708"/>
              <a:ext cx="1167493" cy="2277292"/>
            </a:xfrm>
            <a:custGeom>
              <a:avLst/>
              <a:gdLst>
                <a:gd name="connsiteX0" fmla="*/ 1167473 w 1167493"/>
                <a:gd name="connsiteY0" fmla="*/ 0 h 2272167"/>
                <a:gd name="connsiteX1" fmla="*/ 1167493 w 1167493"/>
                <a:gd name="connsiteY1" fmla="*/ 0 h 2272167"/>
                <a:gd name="connsiteX2" fmla="*/ 1167493 w 1167493"/>
                <a:gd name="connsiteY2" fmla="*/ 492960 h 2272167"/>
                <a:gd name="connsiteX3" fmla="*/ 1167493 w 1167493"/>
                <a:gd name="connsiteY3" fmla="*/ 720385 h 2272167"/>
                <a:gd name="connsiteX4" fmla="*/ 1167493 w 1167493"/>
                <a:gd name="connsiteY4" fmla="*/ 2272167 h 2272167"/>
                <a:gd name="connsiteX5" fmla="*/ 0 w 1167493"/>
                <a:gd name="connsiteY5" fmla="*/ 2272167 h 2272167"/>
                <a:gd name="connsiteX6" fmla="*/ 0 w 1167493"/>
                <a:gd name="connsiteY6" fmla="*/ 1898074 h 2272167"/>
                <a:gd name="connsiteX7" fmla="*/ 0 w 1167493"/>
                <a:gd name="connsiteY7" fmla="*/ 1271597 h 2272167"/>
                <a:gd name="connsiteX8" fmla="*/ 0 w 1167493"/>
                <a:gd name="connsiteY8" fmla="*/ 1177688 h 2272167"/>
                <a:gd name="connsiteX9" fmla="*/ 1048124 w 1167493"/>
                <a:gd name="connsiteY9" fmla="*/ 6080 h 2272167"/>
                <a:gd name="connsiteX10" fmla="*/ 1167473 w 1167493"/>
                <a:gd name="connsiteY10" fmla="*/ 0 h 227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7493" h="2272167">
                  <a:moveTo>
                    <a:pt x="1167473" y="0"/>
                  </a:moveTo>
                  <a:lnTo>
                    <a:pt x="1167493" y="0"/>
                  </a:lnTo>
                  <a:lnTo>
                    <a:pt x="1167493" y="492960"/>
                  </a:lnTo>
                  <a:lnTo>
                    <a:pt x="1167493" y="720385"/>
                  </a:lnTo>
                  <a:lnTo>
                    <a:pt x="1167493" y="2272167"/>
                  </a:lnTo>
                  <a:lnTo>
                    <a:pt x="0" y="2272167"/>
                  </a:lnTo>
                  <a:lnTo>
                    <a:pt x="0" y="1898074"/>
                  </a:lnTo>
                  <a:lnTo>
                    <a:pt x="0" y="1271597"/>
                  </a:lnTo>
                  <a:lnTo>
                    <a:pt x="0" y="1177688"/>
                  </a:lnTo>
                  <a:cubicBezTo>
                    <a:pt x="0" y="567919"/>
                    <a:pt x="459408" y="66389"/>
                    <a:pt x="1048124" y="6080"/>
                  </a:cubicBezTo>
                  <a:lnTo>
                    <a:pt x="116747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494248F2-5264-4601-AA0B-6C092F77F2DD}"/>
              </a:ext>
            </a:extLst>
          </p:cNvPr>
          <p:cNvSpPr>
            <a:spLocks noGrp="1"/>
          </p:cNvSpPr>
          <p:nvPr>
            <p:ph type="ctrTitle" hasCustomPrompt="1"/>
          </p:nvPr>
        </p:nvSpPr>
        <p:spPr>
          <a:xfrm>
            <a:off x="1167493" y="232913"/>
            <a:ext cx="7096933" cy="3830130"/>
          </a:xfrm>
        </p:spPr>
        <p:txBody>
          <a:bodyPr anchor="b">
            <a:noAutofit/>
          </a:bodyPr>
          <a:lstStyle>
            <a:lvl1pPr algn="l">
              <a:defRPr sz="6000" b="1">
                <a:latin typeface="+mj-lt"/>
              </a:defRPr>
            </a:lvl1pPr>
          </a:lstStyle>
          <a:p>
            <a:r>
              <a:rPr lang="en-US" dirty="0"/>
              <a:t>Click to add title</a:t>
            </a:r>
          </a:p>
        </p:txBody>
      </p:sp>
    </p:spTree>
    <p:extLst>
      <p:ext uri="{BB962C8B-B14F-4D97-AF65-F5344CB8AC3E}">
        <p14:creationId xmlns:p14="http://schemas.microsoft.com/office/powerpoint/2010/main" val="1600758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C10D125-AB73-D276-4947-94204736A30D}"/>
              </a:ext>
              <a:ext uri="{C183D7F6-B498-43B3-948B-1728B52AA6E4}">
                <adec:decorative xmlns:adec="http://schemas.microsoft.com/office/drawing/2017/decorative" val="1"/>
              </a:ext>
            </a:extLst>
          </p:cNvPr>
          <p:cNvGrpSpPr/>
          <p:nvPr userDrawn="1"/>
        </p:nvGrpSpPr>
        <p:grpSpPr>
          <a:xfrm>
            <a:off x="1" y="0"/>
            <a:ext cx="12191999" cy="6858000"/>
            <a:chOff x="1" y="0"/>
            <a:chExt cx="12191999" cy="6858000"/>
          </a:xfrm>
        </p:grpSpPr>
        <p:sp>
          <p:nvSpPr>
            <p:cNvPr id="4" name="Freeform 3">
              <a:extLst>
                <a:ext uri="{FF2B5EF4-FFF2-40B4-BE49-F238E27FC236}">
                  <a16:creationId xmlns:a16="http://schemas.microsoft.com/office/drawing/2014/main" id="{6A7F6A3F-E1DD-A246-9A6D-5F9B18BA2588}"/>
                </a:ext>
                <a:ext uri="{C183D7F6-B498-43B3-948B-1728B52AA6E4}">
                  <adec:decorative xmlns:adec="http://schemas.microsoft.com/office/drawing/2017/decorative" val="1"/>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 uri="{C183D7F6-B498-43B3-948B-1728B52AA6E4}">
                  <adec:decorative xmlns:adec="http://schemas.microsoft.com/office/drawing/2017/decorative" val="1"/>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6" name="Freeform 5">
              <a:extLst>
                <a:ext uri="{FF2B5EF4-FFF2-40B4-BE49-F238E27FC236}">
                  <a16:creationId xmlns:a16="http://schemas.microsoft.com/office/drawing/2014/main" id="{D11C9832-A021-954E-A34F-2988D1189AE9}"/>
                </a:ext>
                <a:ext uri="{C183D7F6-B498-43B3-948B-1728B52AA6E4}">
                  <adec:decorative xmlns:adec="http://schemas.microsoft.com/office/drawing/2017/decorative" val="1"/>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9" name="Group 8">
              <a:extLst>
                <a:ext uri="{FF2B5EF4-FFF2-40B4-BE49-F238E27FC236}">
                  <a16:creationId xmlns:a16="http://schemas.microsoft.com/office/drawing/2014/main" id="{9861BC34-DFBF-2D4F-B463-FCFBC08391FF}"/>
                </a:ext>
                <a:ext uri="{C183D7F6-B498-43B3-948B-1728B52AA6E4}">
                  <adec:decorative xmlns:adec="http://schemas.microsoft.com/office/drawing/2017/decorative" val="1"/>
                </a:ext>
              </a:extLst>
            </p:cNvPr>
            <p:cNvGrpSpPr/>
            <p:nvPr userDrawn="1"/>
          </p:nvGrpSpPr>
          <p:grpSpPr>
            <a:xfrm>
              <a:off x="8082092" y="5590903"/>
              <a:ext cx="1572380" cy="1267097"/>
              <a:chOff x="7413403" y="4976359"/>
              <a:chExt cx="2334986" cy="1881641"/>
            </a:xfrm>
          </p:grpSpPr>
          <p:sp>
            <p:nvSpPr>
              <p:cNvPr id="7" name="Freeform 6">
                <a:extLst>
                  <a:ext uri="{FF2B5EF4-FFF2-40B4-BE49-F238E27FC236}">
                    <a16:creationId xmlns:a16="http://schemas.microsoft.com/office/drawing/2014/main" id="{55C37C19-F268-4A43-A0D4-3B1B38D48952}"/>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8" name="Freeform 7">
                <a:extLst>
                  <a:ext uri="{FF2B5EF4-FFF2-40B4-BE49-F238E27FC236}">
                    <a16:creationId xmlns:a16="http://schemas.microsoft.com/office/drawing/2014/main" id="{E4F760E5-9D5D-E44F-AEBF-20CA8DE87D11}"/>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gr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1158864" y="102021"/>
            <a:ext cx="9779183" cy="1744415"/>
          </a:xfrm>
        </p:spPr>
        <p:txBody>
          <a:bodyPr anchor="b">
            <a:noAutofit/>
          </a:bodyPr>
          <a:lstStyle>
            <a:lvl1pPr>
              <a:defRPr sz="4200" b="1">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hasCustomPrompt="1"/>
          </p:nvPr>
        </p:nvSpPr>
        <p:spPr>
          <a:xfrm>
            <a:off x="1158865" y="2017467"/>
            <a:ext cx="9779182" cy="3366815"/>
          </a:xfrm>
        </p:spPr>
        <p:txBody>
          <a:bodyPr>
            <a:normAutofit/>
          </a:bodyPr>
          <a:lstStyle>
            <a:lvl1pPr marL="0" indent="0">
              <a:buNone/>
              <a:defRPr>
                <a:latin typeface="+mn-lt"/>
              </a:defRPr>
            </a:lvl1pPr>
            <a:lvl2pPr marL="457200" indent="0">
              <a:buNone/>
              <a:defRPr>
                <a:latin typeface="+mn-lt"/>
              </a:defRPr>
            </a:lvl2pPr>
            <a:lvl3pPr marL="914400" indent="0">
              <a:buNone/>
              <a:defRPr>
                <a:latin typeface="+mn-lt"/>
              </a:defRPr>
            </a:lvl3pPr>
            <a:lvl4pPr marL="1371600" indent="0">
              <a:buNone/>
              <a:defRPr>
                <a:latin typeface="+mn-lt"/>
              </a:defRPr>
            </a:lvl4pPr>
            <a:lvl5pPr marL="1828800" indent="0">
              <a:buNone/>
              <a:defRPr>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4192774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Left Image">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C10D125-AB73-D276-4947-94204736A30D}"/>
              </a:ext>
              <a:ext uri="{C183D7F6-B498-43B3-948B-1728B52AA6E4}">
                <adec:decorative xmlns:adec="http://schemas.microsoft.com/office/drawing/2017/decorative" val="1"/>
              </a:ext>
            </a:extLst>
          </p:cNvPr>
          <p:cNvGrpSpPr/>
          <p:nvPr userDrawn="1"/>
        </p:nvGrpSpPr>
        <p:grpSpPr>
          <a:xfrm>
            <a:off x="1" y="0"/>
            <a:ext cx="12191999" cy="6858000"/>
            <a:chOff x="1" y="0"/>
            <a:chExt cx="12191999" cy="6858000"/>
          </a:xfrm>
        </p:grpSpPr>
        <p:sp>
          <p:nvSpPr>
            <p:cNvPr id="4" name="Freeform 3">
              <a:extLst>
                <a:ext uri="{FF2B5EF4-FFF2-40B4-BE49-F238E27FC236}">
                  <a16:creationId xmlns:a16="http://schemas.microsoft.com/office/drawing/2014/main" id="{6A7F6A3F-E1DD-A246-9A6D-5F9B18BA2588}"/>
                </a:ext>
                <a:ext uri="{C183D7F6-B498-43B3-948B-1728B52AA6E4}">
                  <adec:decorative xmlns:adec="http://schemas.microsoft.com/office/drawing/2017/decorative" val="1"/>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 uri="{C183D7F6-B498-43B3-948B-1728B52AA6E4}">
                  <adec:decorative xmlns:adec="http://schemas.microsoft.com/office/drawing/2017/decorative" val="1"/>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6" name="Freeform 5">
              <a:extLst>
                <a:ext uri="{FF2B5EF4-FFF2-40B4-BE49-F238E27FC236}">
                  <a16:creationId xmlns:a16="http://schemas.microsoft.com/office/drawing/2014/main" id="{D11C9832-A021-954E-A34F-2988D1189AE9}"/>
                </a:ext>
                <a:ext uri="{C183D7F6-B498-43B3-948B-1728B52AA6E4}">
                  <adec:decorative xmlns:adec="http://schemas.microsoft.com/office/drawing/2017/decorative" val="1"/>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9" name="Group 8">
              <a:extLst>
                <a:ext uri="{FF2B5EF4-FFF2-40B4-BE49-F238E27FC236}">
                  <a16:creationId xmlns:a16="http://schemas.microsoft.com/office/drawing/2014/main" id="{9861BC34-DFBF-2D4F-B463-FCFBC08391FF}"/>
                </a:ext>
                <a:ext uri="{C183D7F6-B498-43B3-948B-1728B52AA6E4}">
                  <adec:decorative xmlns:adec="http://schemas.microsoft.com/office/drawing/2017/decorative" val="1"/>
                </a:ext>
              </a:extLst>
            </p:cNvPr>
            <p:cNvGrpSpPr/>
            <p:nvPr userDrawn="1"/>
          </p:nvGrpSpPr>
          <p:grpSpPr>
            <a:xfrm>
              <a:off x="8082092" y="5590903"/>
              <a:ext cx="1572380" cy="1267097"/>
              <a:chOff x="7413403" y="4976359"/>
              <a:chExt cx="2334986" cy="1881641"/>
            </a:xfrm>
          </p:grpSpPr>
          <p:sp>
            <p:nvSpPr>
              <p:cNvPr id="7" name="Freeform 6">
                <a:extLst>
                  <a:ext uri="{FF2B5EF4-FFF2-40B4-BE49-F238E27FC236}">
                    <a16:creationId xmlns:a16="http://schemas.microsoft.com/office/drawing/2014/main" id="{55C37C19-F268-4A43-A0D4-3B1B38D48952}"/>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8" name="Freeform 7">
                <a:extLst>
                  <a:ext uri="{FF2B5EF4-FFF2-40B4-BE49-F238E27FC236}">
                    <a16:creationId xmlns:a16="http://schemas.microsoft.com/office/drawing/2014/main" id="{E4F760E5-9D5D-E44F-AEBF-20CA8DE87D11}"/>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gr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5943600" y="457200"/>
            <a:ext cx="5120640" cy="3200400"/>
          </a:xfrm>
        </p:spPr>
        <p:txBody>
          <a:bodyPr anchor="b" anchorCtr="0">
            <a:noAutofit/>
          </a:bodyPr>
          <a:lstStyle>
            <a:lvl1pPr>
              <a:defRPr sz="6000" b="1">
                <a:latin typeface="+mj-lt"/>
              </a:defRPr>
            </a:lvl1pPr>
          </a:lstStyle>
          <a:p>
            <a:r>
              <a:rPr lang="en-US" dirty="0"/>
              <a:t>Click to add title</a:t>
            </a:r>
          </a:p>
        </p:txBody>
      </p:sp>
      <p:sp>
        <p:nvSpPr>
          <p:cNvPr id="3" name="Subtitle 2">
            <a:extLst>
              <a:ext uri="{FF2B5EF4-FFF2-40B4-BE49-F238E27FC236}">
                <a16:creationId xmlns:a16="http://schemas.microsoft.com/office/drawing/2014/main" id="{8763DBBF-E63D-81E5-E7CE-32F6F2C2F935}"/>
              </a:ext>
            </a:extLst>
          </p:cNvPr>
          <p:cNvSpPr>
            <a:spLocks noGrp="1"/>
          </p:cNvSpPr>
          <p:nvPr>
            <p:ph type="subTitle" idx="1" hasCustomPrompt="1"/>
          </p:nvPr>
        </p:nvSpPr>
        <p:spPr>
          <a:xfrm>
            <a:off x="5943598" y="3657600"/>
            <a:ext cx="5120640" cy="1828800"/>
          </a:xfrm>
        </p:spPr>
        <p:txBody>
          <a:bodyPr anchor="t" anchorCtr="0">
            <a:noAutofit/>
          </a:bodyPr>
          <a:lstStyle>
            <a:lvl1pPr marL="0" indent="0" algn="l">
              <a:buNone/>
              <a:defRPr sz="3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5" name="Picture Placeholder 14">
            <a:extLst>
              <a:ext uri="{FF2B5EF4-FFF2-40B4-BE49-F238E27FC236}">
                <a16:creationId xmlns:a16="http://schemas.microsoft.com/office/drawing/2014/main" id="{64033732-ADA1-C540-7276-3FF5CDEF2C5E}"/>
              </a:ext>
            </a:extLst>
          </p:cNvPr>
          <p:cNvSpPr>
            <a:spLocks noGrp="1"/>
          </p:cNvSpPr>
          <p:nvPr>
            <p:ph type="pic" sz="quarter" idx="10"/>
          </p:nvPr>
        </p:nvSpPr>
        <p:spPr>
          <a:xfrm>
            <a:off x="904238" y="1157224"/>
            <a:ext cx="4500562" cy="4521200"/>
          </a:xfrm>
          <a:prstGeom prst="ellipse">
            <a:avLst/>
          </a:prstGeom>
          <a:solidFill>
            <a:schemeClr val="accent2"/>
          </a:solidFill>
        </p:spPr>
        <p:txBody>
          <a:bodyPr/>
          <a:lstStyle>
            <a:lvl1pPr marL="0" indent="0" algn="ctr">
              <a:buNone/>
              <a:defRPr sz="2000"/>
            </a:lvl1pPr>
          </a:lstStyle>
          <a:p>
            <a:r>
              <a:rPr lang="en-US"/>
              <a:t>Click icon to add picture</a:t>
            </a:r>
            <a:endParaRPr lang="en-US" dirty="0"/>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798901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CEDB282-8288-C81F-52B5-048A3E80C931}"/>
              </a:ext>
              <a:ext uri="{C183D7F6-B498-43B3-948B-1728B52AA6E4}">
                <adec:decorative xmlns:adec="http://schemas.microsoft.com/office/drawing/2017/decorative" val="1"/>
              </a:ext>
            </a:extLst>
          </p:cNvPr>
          <p:cNvGrpSpPr/>
          <p:nvPr userDrawn="1"/>
        </p:nvGrpSpPr>
        <p:grpSpPr>
          <a:xfrm>
            <a:off x="0" y="-1"/>
            <a:ext cx="12208822" cy="6858003"/>
            <a:chOff x="0" y="-1"/>
            <a:chExt cx="12208822" cy="6858003"/>
          </a:xfrm>
        </p:grpSpPr>
        <p:sp>
          <p:nvSpPr>
            <p:cNvPr id="7" name="Rectangle 6">
              <a:extLst>
                <a:ext uri="{FF2B5EF4-FFF2-40B4-BE49-F238E27FC236}">
                  <a16:creationId xmlns:a16="http://schemas.microsoft.com/office/drawing/2014/main" id="{2A62587F-7496-384A-AF40-18FC8CF0709D}"/>
                </a:ext>
              </a:extLst>
            </p:cNvPr>
            <p:cNvSpPr/>
            <p:nvPr userDrawn="1"/>
          </p:nvSpPr>
          <p:spPr>
            <a:xfrm>
              <a:off x="0" y="2286002"/>
              <a:ext cx="12208822" cy="45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11">
              <a:extLst>
                <a:ext uri="{FF2B5EF4-FFF2-40B4-BE49-F238E27FC236}">
                  <a16:creationId xmlns:a16="http://schemas.microsoft.com/office/drawing/2014/main" id="{84DB028B-A475-224B-B675-A15A56CAD0BF}"/>
                </a:ext>
              </a:extLst>
            </p:cNvPr>
            <p:cNvSpPr/>
            <p:nvPr userDrawn="1"/>
          </p:nvSpPr>
          <p:spPr>
            <a:xfrm flipH="1">
              <a:off x="8597718"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 name="Freeform 13">
              <a:extLst>
                <a:ext uri="{FF2B5EF4-FFF2-40B4-BE49-F238E27FC236}">
                  <a16:creationId xmlns:a16="http://schemas.microsoft.com/office/drawing/2014/main" id="{61C34955-105B-4D4D-B51D-754C5D38A85D}"/>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2734DEB1-EC02-2E42-9292-4ADD115060A5}"/>
                </a:ext>
              </a:extLst>
            </p:cNvPr>
            <p:cNvSpPr/>
            <p:nvPr userDrawn="1"/>
          </p:nvSpPr>
          <p:spPr>
            <a:xfrm rot="5400000" flipH="1" flipV="1">
              <a:off x="10344100" y="438098"/>
              <a:ext cx="2285999" cy="1409801"/>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3" name="Title 1">
            <a:extLst>
              <a:ext uri="{FF2B5EF4-FFF2-40B4-BE49-F238E27FC236}">
                <a16:creationId xmlns:a16="http://schemas.microsoft.com/office/drawing/2014/main" id="{5E932F0D-7FC3-634B-932C-3625C16C8DE2}"/>
              </a:ext>
            </a:extLst>
          </p:cNvPr>
          <p:cNvSpPr>
            <a:spLocks noGrp="1"/>
          </p:cNvSpPr>
          <p:nvPr>
            <p:ph type="title" hasCustomPrompt="1"/>
          </p:nvPr>
        </p:nvSpPr>
        <p:spPr>
          <a:xfrm>
            <a:off x="1167492" y="45085"/>
            <a:ext cx="9779183" cy="1600835"/>
          </a:xfrm>
        </p:spPr>
        <p:txBody>
          <a:bodyPr anchor="b">
            <a:noAutofit/>
          </a:bodyPr>
          <a:lstStyle>
            <a:lvl1pPr>
              <a:defRPr sz="4200" b="1">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CA1EED44-783E-8705-4119-D7E9F7D4F2B4}"/>
              </a:ext>
            </a:extLst>
          </p:cNvPr>
          <p:cNvSpPr>
            <a:spLocks noGrp="1"/>
          </p:cNvSpPr>
          <p:nvPr>
            <p:ph idx="14" hasCustomPrompt="1"/>
          </p:nvPr>
        </p:nvSpPr>
        <p:spPr>
          <a:xfrm>
            <a:off x="1166087" y="2652713"/>
            <a:ext cx="9780587" cy="3436936"/>
          </a:xfrm>
        </p:spPr>
        <p:txBody>
          <a:bodyPr>
            <a:normAutofit/>
          </a:bodyPr>
          <a:lstStyle>
            <a:lvl1pPr marL="342900" indent="-283464">
              <a:spcBef>
                <a:spcPts val="1000"/>
              </a:spcBef>
              <a:buFont typeface="Arial" panose="020B0604020202020204" pitchFamily="34" charset="0"/>
              <a:buChar char="•"/>
              <a:defRPr sz="2000">
                <a:solidFill>
                  <a:schemeClr val="bg1"/>
                </a:solidFill>
                <a:latin typeface="+mn-lt"/>
              </a:defRPr>
            </a:lvl1pPr>
            <a:lvl2pPr marL="566928" indent="-283464">
              <a:spcBef>
                <a:spcPts val="1000"/>
              </a:spcBef>
              <a:buFont typeface="Arial" panose="020B0604020202020204" pitchFamily="34" charset="0"/>
              <a:buChar char="•"/>
              <a:defRPr sz="2000">
                <a:solidFill>
                  <a:schemeClr val="bg1"/>
                </a:solidFill>
                <a:latin typeface="+mn-lt"/>
              </a:defRPr>
            </a:lvl2pPr>
            <a:lvl3pPr marL="850392" indent="-283464">
              <a:spcBef>
                <a:spcPts val="1000"/>
              </a:spcBef>
              <a:buFont typeface="Arial" panose="020B0604020202020204" pitchFamily="34" charset="0"/>
              <a:buChar char="•"/>
              <a:defRPr sz="2000">
                <a:solidFill>
                  <a:schemeClr val="bg1"/>
                </a:solidFill>
                <a:latin typeface="+mn-lt"/>
              </a:defRPr>
            </a:lvl3pPr>
            <a:lvl4pPr marL="1097280" indent="-283464">
              <a:spcBef>
                <a:spcPts val="1000"/>
              </a:spcBef>
              <a:buFont typeface="Arial" panose="020B0604020202020204" pitchFamily="34" charset="0"/>
              <a:buChar char="•"/>
              <a:defRPr sz="2000">
                <a:solidFill>
                  <a:schemeClr val="bg1"/>
                </a:solidFill>
                <a:latin typeface="+mn-lt"/>
              </a:defRPr>
            </a:lvl4pPr>
            <a:lvl5pPr marL="1371600" indent="-283464">
              <a:spcBef>
                <a:spcPts val="1000"/>
              </a:spcBef>
              <a:buFont typeface="Arial" panose="020B0604020202020204" pitchFamily="34" charset="0"/>
              <a:buChar char="•"/>
              <a:defRPr sz="2000">
                <a:solidFill>
                  <a:schemeClr val="bg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E95D4F5-F69B-42F6-8A9D-330F696E144B}"/>
              </a:ext>
            </a:extLst>
          </p:cNvPr>
          <p:cNvSpPr>
            <a:spLocks noGrp="1"/>
          </p:cNvSpPr>
          <p:nvPr>
            <p:ph type="dt" sz="half" idx="10"/>
          </p:nvPr>
        </p:nvSpPr>
        <p:spPr/>
        <p:txBody>
          <a:bodyPr>
            <a:noAutofit/>
          </a:bodyPr>
          <a:lstStyle>
            <a:lvl1pPr>
              <a:defRPr>
                <a:solidFill>
                  <a:schemeClr val="accent2"/>
                </a:solidFill>
                <a:latin typeface="+mn-lt"/>
              </a:defRPr>
            </a:lvl1pPr>
          </a:lstStyle>
          <a:p>
            <a:r>
              <a:rPr lang="en-US" dirty="0"/>
              <a:t>9/8/20XX</a:t>
            </a:r>
          </a:p>
        </p:txBody>
      </p:sp>
      <p:sp>
        <p:nvSpPr>
          <p:cNvPr id="5" name="Footer Placeholder 4">
            <a:extLst>
              <a:ext uri="{FF2B5EF4-FFF2-40B4-BE49-F238E27FC236}">
                <a16:creationId xmlns:a16="http://schemas.microsoft.com/office/drawing/2014/main" id="{FA79A23A-2238-4904-8692-9F2DAE8B8FC9}"/>
              </a:ext>
            </a:extLst>
          </p:cNvPr>
          <p:cNvSpPr>
            <a:spLocks noGrp="1"/>
          </p:cNvSpPr>
          <p:nvPr>
            <p:ph type="ftr" sz="quarter" idx="11"/>
          </p:nvPr>
        </p:nvSpPr>
        <p:spPr/>
        <p:txBody>
          <a:bodyPr>
            <a:noAutofit/>
          </a:bodyPr>
          <a:lstStyle>
            <a:lvl1pPr>
              <a:defRPr>
                <a:solidFill>
                  <a:schemeClr val="accent2"/>
                </a:solidFill>
                <a:latin typeface="+mn-lt"/>
              </a:defRPr>
            </a:lvl1pPr>
          </a:lstStyle>
          <a:p>
            <a:endParaRPr lang="en-US" dirty="0"/>
          </a:p>
        </p:txBody>
      </p:sp>
      <p:sp>
        <p:nvSpPr>
          <p:cNvPr id="6" name="Slide Number Placeholder 5">
            <a:extLst>
              <a:ext uri="{FF2B5EF4-FFF2-40B4-BE49-F238E27FC236}">
                <a16:creationId xmlns:a16="http://schemas.microsoft.com/office/drawing/2014/main" id="{DB69FC35-DDC8-45FB-8ACB-21C15F57C1F1}"/>
              </a:ext>
            </a:extLst>
          </p:cNvPr>
          <p:cNvSpPr>
            <a:spLocks noGrp="1"/>
          </p:cNvSpPr>
          <p:nvPr>
            <p:ph type="sldNum" sz="quarter" idx="12"/>
          </p:nvPr>
        </p:nvSpPr>
        <p:spPr>
          <a:xfrm>
            <a:off x="10206318" y="6356350"/>
            <a:ext cx="1604682" cy="365125"/>
          </a:xfrm>
        </p:spPr>
        <p:txBody>
          <a:bodyPr>
            <a:noAutofit/>
          </a:bodyPr>
          <a:lstStyle>
            <a:lvl1pPr>
              <a:defRPr>
                <a:solidFill>
                  <a:schemeClr val="accent3"/>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101298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Section 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5FBCE6F-2AA9-31FE-8148-33B48073559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23" name="Freeform 22">
              <a:extLst>
                <a:ext uri="{FF2B5EF4-FFF2-40B4-BE49-F238E27FC236}">
                  <a16:creationId xmlns:a16="http://schemas.microsoft.com/office/drawing/2014/main" id="{067EACEC-C2DD-EA42-8504-176673AD1F20}"/>
                </a:ext>
              </a:extLst>
            </p:cNvPr>
            <p:cNvSpPr/>
            <p:nvPr userDrawn="1"/>
          </p:nvSpPr>
          <p:spPr>
            <a:xfrm>
              <a:off x="0" y="0"/>
              <a:ext cx="8025490" cy="6858000"/>
            </a:xfrm>
            <a:custGeom>
              <a:avLst/>
              <a:gdLst>
                <a:gd name="connsiteX0" fmla="*/ 0 w 8025490"/>
                <a:gd name="connsiteY0" fmla="*/ 0 h 6858000"/>
                <a:gd name="connsiteX1" fmla="*/ 4596490 w 8025490"/>
                <a:gd name="connsiteY1" fmla="*/ 0 h 6858000"/>
                <a:gd name="connsiteX2" fmla="*/ 8025490 w 8025490"/>
                <a:gd name="connsiteY2" fmla="*/ 3429000 h 6858000"/>
                <a:gd name="connsiteX3" fmla="*/ 4596490 w 8025490"/>
                <a:gd name="connsiteY3" fmla="*/ 6858000 h 6858000"/>
                <a:gd name="connsiteX4" fmla="*/ 0 w 802549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5490" h="6858000">
                  <a:moveTo>
                    <a:pt x="0" y="0"/>
                  </a:moveTo>
                  <a:lnTo>
                    <a:pt x="4596490" y="0"/>
                  </a:lnTo>
                  <a:cubicBezTo>
                    <a:pt x="6490274" y="0"/>
                    <a:pt x="8025490" y="1535216"/>
                    <a:pt x="8025490" y="3429000"/>
                  </a:cubicBezTo>
                  <a:cubicBezTo>
                    <a:pt x="8025490" y="5322784"/>
                    <a:pt x="6490274" y="6858000"/>
                    <a:pt x="4596490" y="6858000"/>
                  </a:cubicBez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6" name="Group 5">
              <a:extLst>
                <a:ext uri="{FF2B5EF4-FFF2-40B4-BE49-F238E27FC236}">
                  <a16:creationId xmlns:a16="http://schemas.microsoft.com/office/drawing/2014/main" id="{89843C7E-5704-7A46-8974-F3BFA42E7310}"/>
                </a:ext>
              </a:extLst>
            </p:cNvPr>
            <p:cNvGrpSpPr/>
            <p:nvPr userDrawn="1"/>
          </p:nvGrpSpPr>
          <p:grpSpPr>
            <a:xfrm rot="16200000">
              <a:off x="8286528" y="2207195"/>
              <a:ext cx="3032351" cy="2443610"/>
              <a:chOff x="9857014" y="13834"/>
              <a:chExt cx="2334986" cy="1881641"/>
            </a:xfrm>
          </p:grpSpPr>
          <p:sp>
            <p:nvSpPr>
              <p:cNvPr id="15" name="Freeform 14">
                <a:extLst>
                  <a:ext uri="{FF2B5EF4-FFF2-40B4-BE49-F238E27FC236}">
                    <a16:creationId xmlns:a16="http://schemas.microsoft.com/office/drawing/2014/main" id="{EFBF1E52-11FA-DC48-B7AD-75734232FFE8}"/>
                  </a:ext>
                </a:extLst>
              </p:cNvPr>
              <p:cNvSpPr/>
              <p:nvPr userDrawn="1"/>
            </p:nvSpPr>
            <p:spPr>
              <a:xfrm rot="5400000" flipH="1" flipV="1">
                <a:off x="10667433"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15">
                <a:extLst>
                  <a:ext uri="{FF2B5EF4-FFF2-40B4-BE49-F238E27FC236}">
                    <a16:creationId xmlns:a16="http://schemas.microsoft.com/office/drawing/2014/main" id="{4850B620-49F5-3748-84AF-682555D52792}"/>
                  </a:ext>
                </a:extLst>
              </p:cNvPr>
              <p:cNvSpPr/>
              <p:nvPr userDrawn="1"/>
            </p:nvSpPr>
            <p:spPr>
              <a:xfrm rot="16200000" flipV="1">
                <a:off x="9499940"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7" name="Freeform 16">
              <a:extLst>
                <a:ext uri="{FF2B5EF4-FFF2-40B4-BE49-F238E27FC236}">
                  <a16:creationId xmlns:a16="http://schemas.microsoft.com/office/drawing/2014/main" id="{0B179973-08D2-EF40-B516-35E75E906394}"/>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Freeform 17">
              <a:extLst>
                <a:ext uri="{FF2B5EF4-FFF2-40B4-BE49-F238E27FC236}">
                  <a16:creationId xmlns:a16="http://schemas.microsoft.com/office/drawing/2014/main" id="{6C811FF3-E48A-194D-8022-65F8C3A17449}"/>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494248F2-5264-4601-AA0B-6C092F77F2DD}"/>
              </a:ext>
            </a:extLst>
          </p:cNvPr>
          <p:cNvSpPr>
            <a:spLocks noGrp="1"/>
          </p:cNvSpPr>
          <p:nvPr>
            <p:ph type="ctrTitle" hasCustomPrompt="1"/>
          </p:nvPr>
        </p:nvSpPr>
        <p:spPr>
          <a:xfrm>
            <a:off x="1167494" y="177553"/>
            <a:ext cx="6245912" cy="3269447"/>
          </a:xfrm>
        </p:spPr>
        <p:txBody>
          <a:bodyPr bIns="0" anchor="b">
            <a:noAutofit/>
          </a:bodyPr>
          <a:lstStyle>
            <a:lvl1pPr algn="l">
              <a:defRPr sz="6000" b="1">
                <a:solidFill>
                  <a:schemeClr val="bg1"/>
                </a:solidFill>
                <a:latin typeface="+mj-lt"/>
              </a:defRPr>
            </a:lvl1pPr>
          </a:lstStyle>
          <a:p>
            <a:r>
              <a:rPr lang="en-US" dirty="0"/>
              <a:t>Click to add tit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hasCustomPrompt="1"/>
          </p:nvPr>
        </p:nvSpPr>
        <p:spPr>
          <a:xfrm>
            <a:off x="1167494" y="3492896"/>
            <a:ext cx="6245912" cy="912850"/>
          </a:xfrm>
        </p:spPr>
        <p:txBody>
          <a:bodyPr anchor="ctr" anchorCtr="0">
            <a:noAutofit/>
          </a:bodyPr>
          <a:lstStyle>
            <a:lvl1pPr marL="0" indent="0" algn="l">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376994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2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14DB56B5-5DD7-95E3-52B2-EDC4B3F13058}"/>
              </a:ext>
              <a:ext uri="{C183D7F6-B498-43B3-948B-1728B52AA6E4}">
                <adec:decorative xmlns:adec="http://schemas.microsoft.com/office/drawing/2017/decorative" val="1"/>
              </a:ext>
            </a:extLst>
          </p:cNvPr>
          <p:cNvGrpSpPr/>
          <p:nvPr userDrawn="1"/>
        </p:nvGrpSpPr>
        <p:grpSpPr>
          <a:xfrm>
            <a:off x="1" y="0"/>
            <a:ext cx="12191999" cy="6858000"/>
            <a:chOff x="1" y="0"/>
            <a:chExt cx="12191999" cy="6858000"/>
          </a:xfrm>
        </p:grpSpPr>
        <p:sp>
          <p:nvSpPr>
            <p:cNvPr id="4" name="Freeform 3">
              <a:extLst>
                <a:ext uri="{FF2B5EF4-FFF2-40B4-BE49-F238E27FC236}">
                  <a16:creationId xmlns:a16="http://schemas.microsoft.com/office/drawing/2014/main" id="{6A7F6A3F-E1DD-A246-9A6D-5F9B18BA2588}"/>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5">
              <a:extLst>
                <a:ext uri="{FF2B5EF4-FFF2-40B4-BE49-F238E27FC236}">
                  <a16:creationId xmlns:a16="http://schemas.microsoft.com/office/drawing/2014/main" id="{D11C9832-A021-954E-A34F-2988D1189AE9}"/>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9" name="Group 8">
              <a:extLst>
                <a:ext uri="{FF2B5EF4-FFF2-40B4-BE49-F238E27FC236}">
                  <a16:creationId xmlns:a16="http://schemas.microsoft.com/office/drawing/2014/main" id="{9861BC34-DFBF-2D4F-B463-FCFBC08391FF}"/>
                </a:ext>
              </a:extLst>
            </p:cNvPr>
            <p:cNvGrpSpPr/>
            <p:nvPr userDrawn="1"/>
          </p:nvGrpSpPr>
          <p:grpSpPr>
            <a:xfrm>
              <a:off x="8082092" y="5590903"/>
              <a:ext cx="1572380" cy="1267097"/>
              <a:chOff x="7413403" y="4976359"/>
              <a:chExt cx="2334986" cy="1881641"/>
            </a:xfrm>
          </p:grpSpPr>
          <p:sp>
            <p:nvSpPr>
              <p:cNvPr id="7" name="Freeform 6">
                <a:extLst>
                  <a:ext uri="{FF2B5EF4-FFF2-40B4-BE49-F238E27FC236}">
                    <a16:creationId xmlns:a16="http://schemas.microsoft.com/office/drawing/2014/main" id="{55C37C19-F268-4A43-A0D4-3B1B38D48952}"/>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8" name="Freeform 7">
                <a:extLst>
                  <a:ext uri="{FF2B5EF4-FFF2-40B4-BE49-F238E27FC236}">
                    <a16:creationId xmlns:a16="http://schemas.microsoft.com/office/drawing/2014/main" id="{E4F760E5-9D5D-E44F-AEBF-20CA8DE87D11}"/>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gr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1167492" y="136526"/>
            <a:ext cx="9601200" cy="1653371"/>
          </a:xfrm>
        </p:spPr>
        <p:txBody>
          <a:bodyPr anchor="b">
            <a:noAutofit/>
          </a:bodyPr>
          <a:lstStyle>
            <a:lvl1pPr>
              <a:defRPr sz="4200" b="1">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hasCustomPrompt="1"/>
          </p:nvPr>
        </p:nvSpPr>
        <p:spPr>
          <a:xfrm>
            <a:off x="1167493" y="2023984"/>
            <a:ext cx="4663440" cy="3332832"/>
          </a:xfrm>
        </p:spPr>
        <p:txBody>
          <a:bodyPr>
            <a:normAutofit/>
          </a:bodyPr>
          <a:lstStyle>
            <a:lvl1pPr marL="0" indent="0">
              <a:spcBef>
                <a:spcPts val="1000"/>
              </a:spcBef>
              <a:buFont typeface="Arial" panose="020B0604020202020204" pitchFamily="34" charset="0"/>
              <a:buNone/>
              <a:defRPr sz="2000">
                <a:latin typeface="+mn-lt"/>
              </a:defRPr>
            </a:lvl1pPr>
            <a:lvl2pPr marL="283464" indent="-283464">
              <a:spcBef>
                <a:spcPts val="1000"/>
              </a:spcBef>
              <a:buFont typeface="Arial" panose="020B0604020202020204" pitchFamily="34" charset="0"/>
              <a:buChar char="•"/>
              <a:defRPr sz="2000">
                <a:latin typeface="+mn-lt"/>
              </a:defRPr>
            </a:lvl2pPr>
            <a:lvl3pPr marL="566928" indent="-283464">
              <a:spcBef>
                <a:spcPts val="1000"/>
              </a:spcBef>
              <a:buFont typeface="Arial" panose="020B0604020202020204" pitchFamily="34" charset="0"/>
              <a:buChar char="•"/>
              <a:defRPr sz="2000">
                <a:latin typeface="+mn-lt"/>
              </a:defRPr>
            </a:lvl3pPr>
            <a:lvl4pPr marL="850392" indent="-283464">
              <a:spcBef>
                <a:spcPts val="1000"/>
              </a:spcBef>
              <a:buFont typeface="Arial" panose="020B0604020202020204" pitchFamily="34" charset="0"/>
              <a:buChar char="•"/>
              <a:defRPr sz="2000">
                <a:latin typeface="+mn-lt"/>
              </a:defRPr>
            </a:lvl4pPr>
            <a:lvl5pPr marL="1133856" indent="-283464">
              <a:spcBef>
                <a:spcPts val="1000"/>
              </a:spcBef>
              <a:buFont typeface="Arial" panose="020B0604020202020204" pitchFamily="34" charset="0"/>
              <a:buChar char="•"/>
              <a:defRPr sz="20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94CA559C-3355-DE44-ACF9-BDB6083C4225}"/>
              </a:ext>
            </a:extLst>
          </p:cNvPr>
          <p:cNvSpPr>
            <a:spLocks noGrp="1"/>
          </p:cNvSpPr>
          <p:nvPr>
            <p:ph idx="10" hasCustomPrompt="1"/>
          </p:nvPr>
        </p:nvSpPr>
        <p:spPr>
          <a:xfrm>
            <a:off x="6283235" y="2023984"/>
            <a:ext cx="4663440" cy="3332832"/>
          </a:xfrm>
        </p:spPr>
        <p:txBody>
          <a:bodyPr>
            <a:normAutofit/>
          </a:bodyPr>
          <a:lstStyle>
            <a:lvl1pPr marL="0" indent="0">
              <a:spcBef>
                <a:spcPts val="1000"/>
              </a:spcBef>
              <a:buFont typeface="Arial" panose="020B0604020202020204" pitchFamily="34" charset="0"/>
              <a:buNone/>
              <a:defRPr sz="2000">
                <a:latin typeface="+mn-lt"/>
              </a:defRPr>
            </a:lvl1pPr>
            <a:lvl2pPr marL="283464" indent="-283464">
              <a:spcBef>
                <a:spcPts val="1000"/>
              </a:spcBef>
              <a:buFont typeface="Arial" panose="020B0604020202020204" pitchFamily="34" charset="0"/>
              <a:buChar char="•"/>
              <a:defRPr sz="2000">
                <a:latin typeface="+mn-lt"/>
              </a:defRPr>
            </a:lvl2pPr>
            <a:lvl3pPr marL="566928" indent="-283464">
              <a:spcBef>
                <a:spcPts val="1000"/>
              </a:spcBef>
              <a:buFont typeface="Arial" panose="020B0604020202020204" pitchFamily="34" charset="0"/>
              <a:buChar char="•"/>
              <a:defRPr sz="2000">
                <a:latin typeface="+mn-lt"/>
              </a:defRPr>
            </a:lvl3pPr>
            <a:lvl4pPr marL="850392" indent="-283464">
              <a:spcBef>
                <a:spcPts val="1000"/>
              </a:spcBef>
              <a:buFont typeface="Arial" panose="020B0604020202020204" pitchFamily="34" charset="0"/>
              <a:buChar char="•"/>
              <a:defRPr sz="2000">
                <a:latin typeface="+mn-lt"/>
              </a:defRPr>
            </a:lvl4pPr>
            <a:lvl5pPr marL="1133856" indent="-283464">
              <a:spcBef>
                <a:spcPts val="1000"/>
              </a:spcBef>
              <a:buFont typeface="Arial" panose="020B0604020202020204" pitchFamily="34" charset="0"/>
              <a:buChar char="•"/>
              <a:defRPr sz="20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26449114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2 content">
    <p:bg>
      <p:bgPr>
        <a:solidFill>
          <a:schemeClr val="accent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A0E8D4A-B13C-C7EE-5E27-278124A1276E}"/>
              </a:ext>
              <a:ext uri="{C183D7F6-B498-43B3-948B-1728B52AA6E4}">
                <adec:decorative xmlns:adec="http://schemas.microsoft.com/office/drawing/2017/decorative" val="1"/>
              </a:ext>
            </a:extLst>
          </p:cNvPr>
          <p:cNvGrpSpPr/>
          <p:nvPr userDrawn="1"/>
        </p:nvGrpSpPr>
        <p:grpSpPr>
          <a:xfrm>
            <a:off x="1" y="1"/>
            <a:ext cx="12191999" cy="6857999"/>
            <a:chOff x="1" y="1"/>
            <a:chExt cx="12191999" cy="6857999"/>
          </a:xfrm>
        </p:grpSpPr>
        <p:sp>
          <p:nvSpPr>
            <p:cNvPr id="4" name="Freeform 3">
              <a:extLst>
                <a:ext uri="{FF2B5EF4-FFF2-40B4-BE49-F238E27FC236}">
                  <a16:creationId xmlns:a16="http://schemas.microsoft.com/office/drawing/2014/main" id="{6A7F6A3F-E1DD-A246-9A6D-5F9B18BA2588}"/>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Lst>
            </p:cNvPr>
            <p:cNvSpPr/>
            <p:nvPr userDrawn="1"/>
          </p:nvSpPr>
          <p:spPr>
            <a:xfrm rot="5400000" flipH="1">
              <a:off x="1"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1167492" y="69008"/>
            <a:ext cx="9779183" cy="1706563"/>
          </a:xfrm>
        </p:spPr>
        <p:txBody>
          <a:bodyPr anchor="b">
            <a:noAutofit/>
          </a:bodyPr>
          <a:lstStyle>
            <a:lvl1pPr>
              <a:defRPr sz="4200" b="1">
                <a:solidFill>
                  <a:schemeClr val="bg1"/>
                </a:solidFill>
                <a:latin typeface="+mj-lt"/>
              </a:defRPr>
            </a:lvl1pPr>
          </a:lstStyle>
          <a:p>
            <a:r>
              <a:rPr lang="en-US" dirty="0"/>
              <a:t>Click to add title</a:t>
            </a:r>
          </a:p>
        </p:txBody>
      </p:sp>
      <p:sp>
        <p:nvSpPr>
          <p:cNvPr id="14" name="Content Placeholder 2">
            <a:extLst>
              <a:ext uri="{FF2B5EF4-FFF2-40B4-BE49-F238E27FC236}">
                <a16:creationId xmlns:a16="http://schemas.microsoft.com/office/drawing/2014/main" id="{926B296A-EB6A-9BE9-E813-B15C46524F4D}"/>
              </a:ext>
            </a:extLst>
          </p:cNvPr>
          <p:cNvSpPr>
            <a:spLocks noGrp="1"/>
          </p:cNvSpPr>
          <p:nvPr>
            <p:ph idx="12" hasCustomPrompt="1"/>
          </p:nvPr>
        </p:nvSpPr>
        <p:spPr>
          <a:xfrm>
            <a:off x="1167493" y="2023984"/>
            <a:ext cx="4663440" cy="3332832"/>
          </a:xfrm>
        </p:spPr>
        <p:txBody>
          <a:bodyPr>
            <a:normAutofit/>
          </a:bodyPr>
          <a:lstStyle>
            <a:lvl1pPr marL="530352" indent="-530352">
              <a:spcBef>
                <a:spcPts val="1000"/>
              </a:spcBef>
              <a:buFont typeface="+mj-lt"/>
              <a:buAutoNum type="arabicPeriod"/>
              <a:defRPr sz="2000">
                <a:solidFill>
                  <a:schemeClr val="bg1"/>
                </a:solidFill>
                <a:latin typeface="+mn-lt"/>
              </a:defRPr>
            </a:lvl1pPr>
            <a:lvl2pPr marL="1097280" indent="-530352">
              <a:spcBef>
                <a:spcPts val="1000"/>
              </a:spcBef>
              <a:buFont typeface="+mj-lt"/>
              <a:buAutoNum type="alphaLcPeriod"/>
              <a:defRPr sz="2000">
                <a:solidFill>
                  <a:schemeClr val="bg1"/>
                </a:solidFill>
                <a:latin typeface="+mn-lt"/>
              </a:defRPr>
            </a:lvl2pPr>
            <a:lvl3pPr marL="1645920" indent="-530352">
              <a:spcBef>
                <a:spcPts val="1000"/>
              </a:spcBef>
              <a:buFont typeface="+mj-lt"/>
              <a:buAutoNum type="arabicParenR"/>
              <a:defRPr sz="2000">
                <a:solidFill>
                  <a:schemeClr val="bg1"/>
                </a:solidFill>
                <a:latin typeface="+mn-lt"/>
              </a:defRPr>
            </a:lvl3pPr>
            <a:lvl4pPr marL="1920240" indent="-530352">
              <a:spcBef>
                <a:spcPts val="1000"/>
              </a:spcBef>
              <a:buFont typeface="+mj-lt"/>
              <a:buAutoNum type="alphaLcParenR"/>
              <a:defRPr sz="2000">
                <a:solidFill>
                  <a:schemeClr val="bg1"/>
                </a:solidFill>
                <a:latin typeface="+mn-lt"/>
              </a:defRPr>
            </a:lvl4pPr>
            <a:lvl5pPr marL="2560320" indent="-514350">
              <a:spcBef>
                <a:spcPts val="1000"/>
              </a:spcBef>
              <a:buFont typeface="+mj-lt"/>
              <a:buAutoNum type="romanLcPeriod"/>
              <a:defRPr sz="2000">
                <a:solidFill>
                  <a:schemeClr val="bg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a:extLst>
              <a:ext uri="{FF2B5EF4-FFF2-40B4-BE49-F238E27FC236}">
                <a16:creationId xmlns:a16="http://schemas.microsoft.com/office/drawing/2014/main" id="{9435B7D5-E7F8-1267-8942-3C97BE836B98}"/>
              </a:ext>
            </a:extLst>
          </p:cNvPr>
          <p:cNvSpPr>
            <a:spLocks noGrp="1"/>
          </p:cNvSpPr>
          <p:nvPr>
            <p:ph idx="11" hasCustomPrompt="1"/>
          </p:nvPr>
        </p:nvSpPr>
        <p:spPr>
          <a:xfrm>
            <a:off x="6283235" y="2023984"/>
            <a:ext cx="4663440" cy="3332832"/>
          </a:xfrm>
        </p:spPr>
        <p:txBody>
          <a:bodyPr>
            <a:normAutofit/>
          </a:bodyPr>
          <a:lstStyle>
            <a:lvl1pPr marL="0" indent="0">
              <a:spcBef>
                <a:spcPts val="1000"/>
              </a:spcBef>
              <a:buFont typeface="Arial" panose="020B0604020202020204" pitchFamily="34" charset="0"/>
              <a:buNone/>
              <a:defRPr sz="2000">
                <a:solidFill>
                  <a:schemeClr val="bg1"/>
                </a:solidFill>
                <a:latin typeface="+mn-lt"/>
              </a:defRPr>
            </a:lvl1pPr>
            <a:lvl2pPr marL="283464" indent="-283464">
              <a:spcBef>
                <a:spcPts val="1000"/>
              </a:spcBef>
              <a:buFont typeface="Arial" panose="020B0604020202020204" pitchFamily="34" charset="0"/>
              <a:buChar char="•"/>
              <a:defRPr sz="2000">
                <a:solidFill>
                  <a:schemeClr val="bg1"/>
                </a:solidFill>
                <a:latin typeface="+mn-lt"/>
              </a:defRPr>
            </a:lvl2pPr>
            <a:lvl3pPr marL="566928" indent="-283464">
              <a:spcBef>
                <a:spcPts val="1000"/>
              </a:spcBef>
              <a:buFont typeface="Arial" panose="020B0604020202020204" pitchFamily="34" charset="0"/>
              <a:buChar char="•"/>
              <a:defRPr sz="2000">
                <a:solidFill>
                  <a:schemeClr val="bg1"/>
                </a:solidFill>
                <a:latin typeface="+mn-lt"/>
              </a:defRPr>
            </a:lvl3pPr>
            <a:lvl4pPr marL="850392" indent="-283464">
              <a:spcBef>
                <a:spcPts val="1000"/>
              </a:spcBef>
              <a:buFont typeface="Arial" panose="020B0604020202020204" pitchFamily="34" charset="0"/>
              <a:buChar char="•"/>
              <a:defRPr sz="2000">
                <a:solidFill>
                  <a:schemeClr val="bg1"/>
                </a:solidFill>
                <a:latin typeface="+mn-lt"/>
              </a:defRPr>
            </a:lvl4pPr>
            <a:lvl5pPr marL="1133856" indent="-283464">
              <a:spcBef>
                <a:spcPts val="1000"/>
              </a:spcBef>
              <a:buFont typeface="Arial" panose="020B0604020202020204" pitchFamily="34" charset="0"/>
              <a:buChar char="•"/>
              <a:defRPr sz="2000">
                <a:solidFill>
                  <a:schemeClr val="bg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1701018"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2"/>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9455049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hart ">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BA2A58C-57B7-834C-8F5C-3299322411B1}"/>
              </a:ext>
              <a:ext uri="{C183D7F6-B498-43B3-948B-1728B52AA6E4}">
                <adec:decorative xmlns:adec="http://schemas.microsoft.com/office/drawing/2017/decorative" val="1"/>
              </a:ext>
            </a:extLst>
          </p:cNvPr>
          <p:cNvGrpSpPr/>
          <p:nvPr userDrawn="1"/>
        </p:nvGrpSpPr>
        <p:grpSpPr>
          <a:xfrm rot="16200000">
            <a:off x="10772262" y="152641"/>
            <a:ext cx="1572380" cy="1267097"/>
            <a:chOff x="7413403" y="4976359"/>
            <a:chExt cx="2334986" cy="1881641"/>
          </a:xfrm>
        </p:grpSpPr>
        <p:sp>
          <p:nvSpPr>
            <p:cNvPr id="13" name="Freeform 12">
              <a:extLst>
                <a:ext uri="{FF2B5EF4-FFF2-40B4-BE49-F238E27FC236}">
                  <a16:creationId xmlns:a16="http://schemas.microsoft.com/office/drawing/2014/main" id="{801D8067-144A-FE48-AF1E-529B662DCAD3}"/>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 name="Freeform 13">
              <a:extLst>
                <a:ext uri="{FF2B5EF4-FFF2-40B4-BE49-F238E27FC236}">
                  <a16:creationId xmlns:a16="http://schemas.microsoft.com/office/drawing/2014/main" id="{2ECA7D87-C78C-C140-AA28-C0FB20209045}"/>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1167492" y="136526"/>
            <a:ext cx="9779183" cy="1570038"/>
          </a:xfrm>
        </p:spPr>
        <p:txBody>
          <a:bodyPr anchor="b">
            <a:noAutofit/>
          </a:bodyPr>
          <a:lstStyle>
            <a:lvl1pPr>
              <a:defRPr sz="4200" b="1">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hasCustomPrompt="1"/>
          </p:nvPr>
        </p:nvSpPr>
        <p:spPr>
          <a:xfrm>
            <a:off x="1167493" y="2084832"/>
            <a:ext cx="9779182" cy="3366813"/>
          </a:xfrm>
        </p:spPr>
        <p:txBody>
          <a:bodyPr>
            <a:noAutofit/>
          </a:bodyPr>
          <a:lstStyle>
            <a:lvl1pPr marL="0" indent="0">
              <a:buNone/>
              <a:defRPr>
                <a:latin typeface="+mn-lt"/>
              </a:defRPr>
            </a:lvl1pPr>
            <a:lvl2pPr marL="457200" indent="0">
              <a:buNone/>
              <a:defRPr>
                <a:latin typeface="+mn-lt"/>
              </a:defRPr>
            </a:lvl2pPr>
            <a:lvl3pPr marL="914400" indent="0">
              <a:buNone/>
              <a:defRPr>
                <a:latin typeface="+mn-lt"/>
              </a:defRPr>
            </a:lvl3pPr>
            <a:lvl4pPr marL="1371600" indent="0">
              <a:buNone/>
              <a:defRPr>
                <a:latin typeface="+mn-lt"/>
              </a:defRPr>
            </a:lvl4pPr>
            <a:lvl5pPr marL="1828800" indent="0">
              <a:buNone/>
              <a:defRPr>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1701018"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3"/>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388117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4BF3F-3F08-321A-5148-2368647E6BE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3DC87E4-29BB-654B-60C2-C03276704BF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19E59CE-E48E-4B83-70A7-3D79798546F6}"/>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B6CA58AF-4C99-42A5-DC4D-828C2D6DADE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64ECDF1-00EA-2925-24E5-35AD52FB69B7}"/>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988312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End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8AD52EA-B01E-8D38-D87A-BF7EB5B58A82}"/>
              </a:ext>
              <a:ext uri="{C183D7F6-B498-43B3-948B-1728B52AA6E4}">
                <adec:decorative xmlns:adec="http://schemas.microsoft.com/office/drawing/2017/decorative" val="1"/>
              </a:ext>
            </a:extLst>
          </p:cNvPr>
          <p:cNvGrpSpPr/>
          <p:nvPr userDrawn="1"/>
        </p:nvGrpSpPr>
        <p:grpSpPr>
          <a:xfrm>
            <a:off x="0" y="-1"/>
            <a:ext cx="12192001" cy="6864796"/>
            <a:chOff x="0" y="-1"/>
            <a:chExt cx="12192001" cy="6864796"/>
          </a:xfrm>
        </p:grpSpPr>
        <p:sp>
          <p:nvSpPr>
            <p:cNvPr id="4" name="Rectangle 3">
              <a:extLst>
                <a:ext uri="{FF2B5EF4-FFF2-40B4-BE49-F238E27FC236}">
                  <a16:creationId xmlns:a16="http://schemas.microsoft.com/office/drawing/2014/main" id="{9AC79249-FDC0-364D-A734-AE1DE1605D28}"/>
                </a:ext>
              </a:extLst>
            </p:cNvPr>
            <p:cNvSpPr/>
            <p:nvPr userDrawn="1"/>
          </p:nvSpPr>
          <p:spPr>
            <a:xfrm>
              <a:off x="8264426" y="0"/>
              <a:ext cx="39275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a:extLst>
                <a:ext uri="{FF2B5EF4-FFF2-40B4-BE49-F238E27FC236}">
                  <a16:creationId xmlns:a16="http://schemas.microsoft.com/office/drawing/2014/main" id="{F15FBB50-09C8-B64E-AE57-67C5E70810CB}"/>
                </a:ext>
              </a:extLst>
            </p:cNvPr>
            <p:cNvGrpSpPr/>
            <p:nvPr userDrawn="1"/>
          </p:nvGrpSpPr>
          <p:grpSpPr>
            <a:xfrm>
              <a:off x="8264427" y="3685939"/>
              <a:ext cx="3927573" cy="3178856"/>
              <a:chOff x="9857014" y="13834"/>
              <a:chExt cx="2334986" cy="1881641"/>
            </a:xfrm>
          </p:grpSpPr>
          <p:sp>
            <p:nvSpPr>
              <p:cNvPr id="15" name="Freeform 14">
                <a:extLst>
                  <a:ext uri="{FF2B5EF4-FFF2-40B4-BE49-F238E27FC236}">
                    <a16:creationId xmlns:a16="http://schemas.microsoft.com/office/drawing/2014/main" id="{EFBF1E52-11FA-DC48-B7AD-75734232FFE8}"/>
                  </a:ext>
                </a:extLst>
              </p:cNvPr>
              <p:cNvSpPr/>
              <p:nvPr userDrawn="1"/>
            </p:nvSpPr>
            <p:spPr>
              <a:xfrm rot="5400000" flipH="1" flipV="1">
                <a:off x="10667433"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15">
                <a:extLst>
                  <a:ext uri="{FF2B5EF4-FFF2-40B4-BE49-F238E27FC236}">
                    <a16:creationId xmlns:a16="http://schemas.microsoft.com/office/drawing/2014/main" id="{4850B620-49F5-3748-84AF-682555D52792}"/>
                  </a:ext>
                </a:extLst>
              </p:cNvPr>
              <p:cNvSpPr/>
              <p:nvPr userDrawn="1"/>
            </p:nvSpPr>
            <p:spPr>
              <a:xfrm rot="16200000" flipV="1">
                <a:off x="9499940"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2" name="Freeform 21">
              <a:extLst>
                <a:ext uri="{FF2B5EF4-FFF2-40B4-BE49-F238E27FC236}">
                  <a16:creationId xmlns:a16="http://schemas.microsoft.com/office/drawing/2014/main" id="{BC68F289-2744-2F48-893A-3F17911625C8}"/>
                </a:ext>
              </a:extLst>
            </p:cNvPr>
            <p:cNvSpPr/>
            <p:nvPr userDrawn="1"/>
          </p:nvSpPr>
          <p:spPr>
            <a:xfrm>
              <a:off x="0" y="-1"/>
              <a:ext cx="1167493" cy="1167493"/>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Freeform 16">
              <a:extLst>
                <a:ext uri="{FF2B5EF4-FFF2-40B4-BE49-F238E27FC236}">
                  <a16:creationId xmlns:a16="http://schemas.microsoft.com/office/drawing/2014/main" id="{39563C76-BC00-DE47-88F5-C24D3CE3325A}"/>
                </a:ext>
              </a:extLst>
            </p:cNvPr>
            <p:cNvSpPr/>
            <p:nvPr userDrawn="1"/>
          </p:nvSpPr>
          <p:spPr>
            <a:xfrm>
              <a:off x="10228214" y="-1"/>
              <a:ext cx="1963787" cy="3178856"/>
            </a:xfrm>
            <a:custGeom>
              <a:avLst/>
              <a:gdLst>
                <a:gd name="connsiteX0" fmla="*/ 0 w 1963787"/>
                <a:gd name="connsiteY0" fmla="*/ 0 h 3178856"/>
                <a:gd name="connsiteX1" fmla="*/ 1963787 w 1963787"/>
                <a:gd name="connsiteY1" fmla="*/ 0 h 3178856"/>
                <a:gd name="connsiteX2" fmla="*/ 1963787 w 1963787"/>
                <a:gd name="connsiteY2" fmla="*/ 1967129 h 3178856"/>
                <a:gd name="connsiteX3" fmla="*/ 1963787 w 1963787"/>
                <a:gd name="connsiteY3" fmla="*/ 2349671 h 3178856"/>
                <a:gd name="connsiteX4" fmla="*/ 1963787 w 1963787"/>
                <a:gd name="connsiteY4" fmla="*/ 3178856 h 3178856"/>
                <a:gd name="connsiteX5" fmla="*/ 1963753 w 1963787"/>
                <a:gd name="connsiteY5" fmla="*/ 3178856 h 3178856"/>
                <a:gd name="connsiteX6" fmla="*/ 1763002 w 1963787"/>
                <a:gd name="connsiteY6" fmla="*/ 3168629 h 3178856"/>
                <a:gd name="connsiteX7" fmla="*/ 0 w 1963787"/>
                <a:gd name="connsiteY7" fmla="*/ 1197921 h 3178856"/>
                <a:gd name="connsiteX8" fmla="*/ 0 w 1963787"/>
                <a:gd name="connsiteY8" fmla="*/ 1039961 h 3178856"/>
                <a:gd name="connsiteX9" fmla="*/ 0 w 1963787"/>
                <a:gd name="connsiteY9" fmla="*/ 0 h 317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3787" h="3178856">
                  <a:moveTo>
                    <a:pt x="0" y="0"/>
                  </a:moveTo>
                  <a:lnTo>
                    <a:pt x="1963787" y="0"/>
                  </a:lnTo>
                  <a:lnTo>
                    <a:pt x="1963787" y="1967129"/>
                  </a:lnTo>
                  <a:lnTo>
                    <a:pt x="1963787" y="2349671"/>
                  </a:lnTo>
                  <a:lnTo>
                    <a:pt x="1963787" y="3178856"/>
                  </a:lnTo>
                  <a:lnTo>
                    <a:pt x="1963753" y="3178856"/>
                  </a:lnTo>
                  <a:lnTo>
                    <a:pt x="1763002" y="3168629"/>
                  </a:lnTo>
                  <a:cubicBezTo>
                    <a:pt x="772749" y="3067186"/>
                    <a:pt x="0" y="2223585"/>
                    <a:pt x="0" y="1197921"/>
                  </a:cubicBezTo>
                  <a:lnTo>
                    <a:pt x="0" y="1039961"/>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494248F2-5264-4601-AA0B-6C092F77F2DD}"/>
              </a:ext>
            </a:extLst>
          </p:cNvPr>
          <p:cNvSpPr>
            <a:spLocks noGrp="1"/>
          </p:cNvSpPr>
          <p:nvPr>
            <p:ph type="ctrTitle" hasCustomPrompt="1"/>
          </p:nvPr>
        </p:nvSpPr>
        <p:spPr>
          <a:xfrm>
            <a:off x="1167494" y="252549"/>
            <a:ext cx="6220278" cy="3262811"/>
          </a:xfrm>
        </p:spPr>
        <p:txBody>
          <a:bodyPr anchor="b">
            <a:noAutofit/>
          </a:bodyPr>
          <a:lstStyle>
            <a:lvl1pPr algn="l">
              <a:defRPr sz="6000" b="1">
                <a:latin typeface="+mj-lt"/>
              </a:defRPr>
            </a:lvl1pPr>
          </a:lstStyle>
          <a:p>
            <a:r>
              <a:rPr lang="en-US" dirty="0"/>
              <a:t>Click to add tit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hasCustomPrompt="1"/>
          </p:nvPr>
        </p:nvSpPr>
        <p:spPr>
          <a:xfrm>
            <a:off x="1167493" y="3685939"/>
            <a:ext cx="6220277" cy="2919512"/>
          </a:xfrm>
        </p:spPr>
        <p:txBody>
          <a:bodyPr anchor="t" anchorCtr="0">
            <a:normAutofit/>
          </a:bodyPr>
          <a:lstStyle>
            <a:lvl1pPr marL="0" indent="0" algn="l">
              <a:buNone/>
              <a:defRPr sz="2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Click to add text</a:t>
            </a:r>
          </a:p>
        </p:txBody>
      </p:sp>
    </p:spTree>
    <p:extLst>
      <p:ext uri="{BB962C8B-B14F-4D97-AF65-F5344CB8AC3E}">
        <p14:creationId xmlns:p14="http://schemas.microsoft.com/office/powerpoint/2010/main" val="4441727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30356012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28046152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2453160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404714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4746362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8289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045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739425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9332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BB97A-0CF0-0084-B713-AFEADEA37F7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6C799C15-220C-8D48-C81D-01CE93A415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E751A7-8B7D-AED3-E22D-9EFBF77E88A9}"/>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C3CF6637-A6E2-1066-4BF4-DF6B965CF44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D56F889-9BB4-69AB-B4C2-45CE8B664D69}"/>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5341030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329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785124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2945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12054399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5913710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9824773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5110089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5218499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124634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072519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7511E-7155-9DD7-B9DC-E85570E43F1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E794014-D15C-B0CB-8A63-F064BA5D523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0966B2CB-7C4D-EA4D-5DF5-DE64D108025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80D04C59-EDC7-EA82-413C-F32F0B526A44}"/>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6" name="Footer Placeholder 5">
            <a:extLst>
              <a:ext uri="{FF2B5EF4-FFF2-40B4-BE49-F238E27FC236}">
                <a16:creationId xmlns:a16="http://schemas.microsoft.com/office/drawing/2014/main" id="{012CDA9C-3BC6-DE50-1FEE-387E329FE94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07CFB62-A322-7B6E-7824-E900BCE20D63}"/>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16281114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22687821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698881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541638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10454276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30115634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92040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14093374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0293268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04589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27966736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1FC38-1F5F-6036-8160-2A988C63F2BA}"/>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C4D557A-D2C9-5A9A-3BB7-22F913FDA1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1C80DD-65B0-7DA1-09F8-0817878597C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7EBD7216-66A7-3886-DCFF-695B733378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3C8A7B-BDC1-D11C-553A-07A801E4480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CADFE2E8-E054-FC58-CAAE-A87D3447BD47}"/>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8" name="Footer Placeholder 7">
            <a:extLst>
              <a:ext uri="{FF2B5EF4-FFF2-40B4-BE49-F238E27FC236}">
                <a16:creationId xmlns:a16="http://schemas.microsoft.com/office/drawing/2014/main" id="{53AC09E7-FAE9-7DC6-5818-A94ECA24D9C2}"/>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337CAD98-0504-03F6-4B24-898D553326CD}"/>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3924149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7A45B-070D-0547-A01D-6AF06A8121ED}"/>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6FD15FD-FE12-E80F-7681-2A4D52B855D6}"/>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4" name="Footer Placeholder 3">
            <a:extLst>
              <a:ext uri="{FF2B5EF4-FFF2-40B4-BE49-F238E27FC236}">
                <a16:creationId xmlns:a16="http://schemas.microsoft.com/office/drawing/2014/main" id="{10994744-84F5-03B2-3176-3637DEE846AF}"/>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B89031AF-71A8-D7EC-6899-951EDEC9ED60}"/>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26483594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6A1755-B08B-0F22-499F-68EAE9B2A1AE}"/>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3" name="Footer Placeholder 2">
            <a:extLst>
              <a:ext uri="{FF2B5EF4-FFF2-40B4-BE49-F238E27FC236}">
                <a16:creationId xmlns:a16="http://schemas.microsoft.com/office/drawing/2014/main" id="{45BC632F-FCD2-3D66-E280-B5FC3C81850A}"/>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06E2463E-2D8A-94CF-EEBF-A60233DEAD46}"/>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1532655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21107-177E-AEE7-C441-4D61572063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414DBE98-58DF-7667-4563-2087DE4EF6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F93A8B68-7839-FACA-FC77-64BE8A6BC1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2AC7E8-66DF-90A9-ECF8-585884D725C8}"/>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6" name="Footer Placeholder 5">
            <a:extLst>
              <a:ext uri="{FF2B5EF4-FFF2-40B4-BE49-F238E27FC236}">
                <a16:creationId xmlns:a16="http://schemas.microsoft.com/office/drawing/2014/main" id="{0030AA59-6B7F-6D58-312C-B8F822A8B4D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4B1A770-AF55-31E5-2371-7473BAB3839A}"/>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2930338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5764A-E990-4ACC-2268-F6E27C0757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AE8BB06B-088C-7738-85CF-AA69E102B72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6F412138-B120-F8B2-8F5F-2D418AFAD0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E9F626-FB45-1BBA-4FD6-2251F06F8BD5}"/>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6" name="Footer Placeholder 5">
            <a:extLst>
              <a:ext uri="{FF2B5EF4-FFF2-40B4-BE49-F238E27FC236}">
                <a16:creationId xmlns:a16="http://schemas.microsoft.com/office/drawing/2014/main" id="{7CDBE0F9-AB70-A3C2-2CED-15E04BA54C6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039C911-DAA1-8FF7-6269-AB1524070A62}"/>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2185408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image" Target="../media/image1.emf"/><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oleObject" Target="../embeddings/oleObject1.bin"/><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tags" Target="../tags/tag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theme" Target="../theme/theme3.xml"/><Relationship Id="rId8"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2229DD-62BC-266E-D110-BF35009D21E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764607F-D030-ABBA-8841-32EBA1BF3E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2C2B4D1-3142-2386-B917-CCBD2C5EEC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673AAB5D-487D-3917-F426-6734358289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35A9ADC1-05BA-D4C6-8E5B-62CA41CCF6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CE84ED-A0BA-4126-AA34-6A3D6EAD793A}" type="slidenum">
              <a:rPr lang="en-IN" smtClean="0"/>
              <a:t>‹#›</a:t>
            </a:fld>
            <a:endParaRPr lang="en-IN"/>
          </a:p>
        </p:txBody>
      </p:sp>
    </p:spTree>
    <p:extLst>
      <p:ext uri="{BB962C8B-B14F-4D97-AF65-F5344CB8AC3E}">
        <p14:creationId xmlns:p14="http://schemas.microsoft.com/office/powerpoint/2010/main" val="38582446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98F9AA-2C87-421D-97C1-B4248DFDC2C2}"/>
              </a:ext>
            </a:extLst>
          </p:cNvPr>
          <p:cNvSpPr>
            <a:spLocks noGrp="1"/>
          </p:cNvSpPr>
          <p:nvPr>
            <p:ph type="title"/>
          </p:nvPr>
        </p:nvSpPr>
        <p:spPr>
          <a:xfrm>
            <a:off x="381000" y="381000"/>
            <a:ext cx="11430000" cy="132556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E98FC63-C8D2-4CE6-A3F1-EE8ED24590C4}"/>
              </a:ext>
            </a:extLst>
          </p:cNvPr>
          <p:cNvSpPr>
            <a:spLocks noGrp="1"/>
          </p:cNvSpPr>
          <p:nvPr>
            <p:ph type="body" idx="1"/>
          </p:nvPr>
        </p:nvSpPr>
        <p:spPr>
          <a:xfrm>
            <a:off x="381000" y="1825625"/>
            <a:ext cx="114300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ED77A09-15C2-4E47-948E-AACAFCA47D40}"/>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tx2"/>
                </a:solidFill>
                <a:latin typeface="+mn-lt"/>
              </a:defRPr>
            </a:lvl1pPr>
          </a:lstStyle>
          <a:p>
            <a:r>
              <a:rPr lang="en-US" dirty="0"/>
              <a:t>9/8/20XX</a:t>
            </a:r>
          </a:p>
        </p:txBody>
      </p:sp>
      <p:sp>
        <p:nvSpPr>
          <p:cNvPr id="5" name="Footer Placeholder 4">
            <a:extLst>
              <a:ext uri="{FF2B5EF4-FFF2-40B4-BE49-F238E27FC236}">
                <a16:creationId xmlns:a16="http://schemas.microsoft.com/office/drawing/2014/main" id="{60567522-C3B6-46EB-A361-BEC2510B00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tx2"/>
                </a:solidFill>
                <a:latin typeface="+mn-lt"/>
              </a:defRPr>
            </a:lvl1pPr>
          </a:lstStyle>
          <a:p>
            <a:endParaRPr lang="en-US" dirty="0"/>
          </a:p>
        </p:txBody>
      </p:sp>
      <p:sp>
        <p:nvSpPr>
          <p:cNvPr id="6" name="Slide Number Placeholder 5">
            <a:extLst>
              <a:ext uri="{FF2B5EF4-FFF2-40B4-BE49-F238E27FC236}">
                <a16:creationId xmlns:a16="http://schemas.microsoft.com/office/drawing/2014/main" id="{CDC57CF0-034F-450D-937C-718D5AF1A059}"/>
              </a:ext>
            </a:extLst>
          </p:cNvPr>
          <p:cNvSpPr>
            <a:spLocks noGrp="1"/>
          </p:cNvSpPr>
          <p:nvPr>
            <p:ph type="sldNum" sz="quarter" idx="4"/>
          </p:nvPr>
        </p:nvSpPr>
        <p:spPr>
          <a:xfrm>
            <a:off x="9067800" y="6356350"/>
            <a:ext cx="2743200" cy="365125"/>
          </a:xfrm>
          <a:prstGeom prst="rect">
            <a:avLst/>
          </a:prstGeom>
        </p:spPr>
        <p:txBody>
          <a:bodyPr vert="horz" lIns="91440" tIns="45720" rIns="91440" bIns="45720" rtlCol="0" anchor="ctr">
            <a:noAutofit/>
          </a:bodyPr>
          <a:lstStyle>
            <a:lvl1pPr algn="r">
              <a:defRPr sz="1200">
                <a:solidFill>
                  <a:schemeClr val="tx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64807584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hf sldNum="0" hdr="0" ftr="0" dt="0"/>
  <p:txStyles>
    <p:titleStyle>
      <a:lvl1pPr algn="l" defTabSz="914400" rtl="0" eaLnBrk="1" latinLnBrk="0" hangingPunct="1">
        <a:lnSpc>
          <a:spcPct val="8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pos="240">
          <p15:clr>
            <a:srgbClr val="547EBF"/>
          </p15:clr>
        </p15:guide>
        <p15:guide id="4" orient="horz" pos="240">
          <p15:clr>
            <a:srgbClr val="547EBF"/>
          </p15:clr>
        </p15:guide>
        <p15:guide id="5" pos="7440">
          <p15:clr>
            <a:srgbClr val="547EBF"/>
          </p15:clr>
        </p15:guide>
        <p15:guide id="6" orient="horz" pos="4080">
          <p15:clr>
            <a:srgbClr val="547EBF"/>
          </p15:clr>
        </p15:guide>
        <p15:guide id="7" pos="3960">
          <p15:clr>
            <a:srgbClr val="547EBF"/>
          </p15:clr>
        </p15:guide>
        <p15:guide id="8" pos="3720">
          <p15:clr>
            <a:srgbClr val="547EBF"/>
          </p15:clr>
        </p15:guide>
        <p15:guide id="9" pos="2112">
          <p15:clr>
            <a:srgbClr val="547EBF"/>
          </p15:clr>
        </p15:guide>
        <p15:guide id="10" pos="1848">
          <p15:clr>
            <a:srgbClr val="547EBF"/>
          </p15:clr>
        </p15:guide>
        <p15:guide id="11" pos="5568">
          <p15:clr>
            <a:srgbClr val="547EBF"/>
          </p15:clr>
        </p15:guide>
        <p15:guide id="12" pos="5832">
          <p15:clr>
            <a:srgbClr val="547EBF"/>
          </p15:clr>
        </p15:guide>
        <p15:guide id="13" pos="4968">
          <p15:clr>
            <a:srgbClr val="9FCC3B"/>
          </p15:clr>
        </p15:guide>
        <p15:guide id="14" pos="5208">
          <p15:clr>
            <a:srgbClr val="9FCC3B"/>
          </p15:clr>
        </p15:guide>
        <p15:guide id="15" pos="2712">
          <p15:clr>
            <a:srgbClr val="9FCC3B"/>
          </p15:clr>
        </p15:guide>
        <p15:guide id="16" pos="2472">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1"/>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33" imgH="336" progId="TCLayout.ActiveDocument.1">
                  <p:embed/>
                </p:oleObj>
              </mc:Choice>
              <mc:Fallback>
                <p:oleObj name="think-cell Slide" r:id="rId32"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8/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59841993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slideLayout" Target="../slideLayouts/slideLayout25.xml"/><Relationship Id="rId1" Type="http://schemas.openxmlformats.org/officeDocument/2006/relationships/tags" Target="../tags/tag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oleObject" Target="../embeddings/oleObject2.bin"/><Relationship Id="rId7" Type="http://schemas.openxmlformats.org/officeDocument/2006/relationships/diagramQuickStyle" Target="../diagrams/quickStyle5.xml"/><Relationship Id="rId2" Type="http://schemas.openxmlformats.org/officeDocument/2006/relationships/slideLayout" Target="../slideLayouts/slideLayout25.xml"/><Relationship Id="rId1" Type="http://schemas.openxmlformats.org/officeDocument/2006/relationships/tags" Target="../tags/tag6.xml"/><Relationship Id="rId6" Type="http://schemas.openxmlformats.org/officeDocument/2006/relationships/diagramLayout" Target="../diagrams/layout5.xml"/><Relationship Id="rId5" Type="http://schemas.openxmlformats.org/officeDocument/2006/relationships/diagramData" Target="../diagrams/data5.xml"/><Relationship Id="rId10" Type="http://schemas.openxmlformats.org/officeDocument/2006/relationships/image" Target="../media/image18.png"/><Relationship Id="rId4" Type="http://schemas.openxmlformats.org/officeDocument/2006/relationships/image" Target="../media/image1.emf"/><Relationship Id="rId9" Type="http://schemas.microsoft.com/office/2007/relationships/diagramDrawing" Target="../diagrams/drawing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18.png"/><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slideLayout" Target="../slideLayouts/slideLayout25.xml"/><Relationship Id="rId1" Type="http://schemas.openxmlformats.org/officeDocument/2006/relationships/tags" Target="../tags/tag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F3D98-3C30-4CFC-8643-C81E829C8C25}"/>
              </a:ext>
            </a:extLst>
          </p:cNvPr>
          <p:cNvSpPr>
            <a:spLocks noGrp="1"/>
          </p:cNvSpPr>
          <p:nvPr>
            <p:ph type="ctrTitle"/>
          </p:nvPr>
        </p:nvSpPr>
        <p:spPr>
          <a:xfrm>
            <a:off x="766917" y="1769805"/>
            <a:ext cx="7497510" cy="2293237"/>
          </a:xfrm>
        </p:spPr>
        <p:txBody>
          <a:bodyPr/>
          <a:lstStyle/>
          <a:p>
            <a:r>
              <a:rPr lang="en-IN" dirty="0"/>
              <a:t>AI-Driven Energy Saving Advisor for Smart Homes</a:t>
            </a:r>
            <a:endParaRPr lang="en-US" dirty="0"/>
          </a:p>
        </p:txBody>
      </p:sp>
    </p:spTree>
    <p:extLst>
      <p:ext uri="{BB962C8B-B14F-4D97-AF65-F5344CB8AC3E}">
        <p14:creationId xmlns:p14="http://schemas.microsoft.com/office/powerpoint/2010/main" val="39095819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a:t>Recommendations and Next Steps </a:t>
            </a:r>
          </a:p>
        </p:txBody>
      </p:sp>
      <p:graphicFrame>
        <p:nvGraphicFramePr>
          <p:cNvPr id="3" name="Diagram 2">
            <a:extLst>
              <a:ext uri="{FF2B5EF4-FFF2-40B4-BE49-F238E27FC236}">
                <a16:creationId xmlns:a16="http://schemas.microsoft.com/office/drawing/2014/main" id="{E784E1D6-A1CB-6ECF-0B65-A95BC88B441A}"/>
              </a:ext>
            </a:extLst>
          </p:cNvPr>
          <p:cNvGraphicFramePr/>
          <p:nvPr/>
        </p:nvGraphicFramePr>
        <p:xfrm>
          <a:off x="147797" y="1375011"/>
          <a:ext cx="11491495" cy="49880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8996BEE8-1E8F-A9D1-5468-CD28D6B5A606}"/>
              </a:ext>
            </a:extLst>
          </p:cNvPr>
          <p:cNvPicPr>
            <a:picLocks noChangeAspect="1"/>
          </p:cNvPicPr>
          <p:nvPr/>
        </p:nvPicPr>
        <p:blipFill>
          <a:blip r:embed="rId8"/>
          <a:stretch>
            <a:fillRect/>
          </a:stretch>
        </p:blipFill>
        <p:spPr>
          <a:xfrm>
            <a:off x="11402961" y="6129338"/>
            <a:ext cx="543001" cy="590632"/>
          </a:xfrm>
          <a:prstGeom prst="rect">
            <a:avLst/>
          </a:prstGeom>
        </p:spPr>
      </p:pic>
    </p:spTree>
    <p:custDataLst>
      <p:tags r:id="rId1"/>
    </p:custDataLst>
    <p:extLst>
      <p:ext uri="{BB962C8B-B14F-4D97-AF65-F5344CB8AC3E}">
        <p14:creationId xmlns:p14="http://schemas.microsoft.com/office/powerpoint/2010/main" val="5002263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a:xfrm>
            <a:off x="348792" y="186017"/>
            <a:ext cx="10515600" cy="811922"/>
          </a:xfrm>
        </p:spPr>
        <p:txBody>
          <a:bodyPr vert="horz"/>
          <a:lstStyle/>
          <a:p>
            <a:r>
              <a:rPr lang="en-US" b="1" dirty="0"/>
              <a:t>Appendix: Key analyses</a:t>
            </a:r>
          </a:p>
        </p:txBody>
      </p:sp>
      <p:graphicFrame>
        <p:nvGraphicFramePr>
          <p:cNvPr id="11" name="Diagram 10">
            <a:extLst>
              <a:ext uri="{FF2B5EF4-FFF2-40B4-BE49-F238E27FC236}">
                <a16:creationId xmlns:a16="http://schemas.microsoft.com/office/drawing/2014/main" id="{74DF9B6B-B0E8-C805-FD05-0F4D382BE2C4}"/>
              </a:ext>
            </a:extLst>
          </p:cNvPr>
          <p:cNvGraphicFramePr/>
          <p:nvPr/>
        </p:nvGraphicFramePr>
        <p:xfrm>
          <a:off x="460865" y="1187706"/>
          <a:ext cx="11256653" cy="379105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2" name="Arrow: Down 11">
            <a:extLst>
              <a:ext uri="{FF2B5EF4-FFF2-40B4-BE49-F238E27FC236}">
                <a16:creationId xmlns:a16="http://schemas.microsoft.com/office/drawing/2014/main" id="{FE9CD3D6-5BA1-CFAA-9166-02333440BC9D}"/>
              </a:ext>
            </a:extLst>
          </p:cNvPr>
          <p:cNvSpPr/>
          <p:nvPr/>
        </p:nvSpPr>
        <p:spPr>
          <a:xfrm>
            <a:off x="4402317" y="3940585"/>
            <a:ext cx="793421" cy="92364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92D3D430-6E0E-F7E0-A85B-A73F5090D616}"/>
              </a:ext>
            </a:extLst>
          </p:cNvPr>
          <p:cNvSpPr/>
          <p:nvPr/>
        </p:nvSpPr>
        <p:spPr>
          <a:xfrm>
            <a:off x="178829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Data cleaning </a:t>
            </a:r>
          </a:p>
        </p:txBody>
      </p:sp>
      <p:sp>
        <p:nvSpPr>
          <p:cNvPr id="15" name="Rectangle: Rounded Corners 14">
            <a:extLst>
              <a:ext uri="{FF2B5EF4-FFF2-40B4-BE49-F238E27FC236}">
                <a16:creationId xmlns:a16="http://schemas.microsoft.com/office/drawing/2014/main" id="{58BE6E8F-6716-A115-BE32-F651D168DB58}"/>
              </a:ext>
            </a:extLst>
          </p:cNvPr>
          <p:cNvSpPr/>
          <p:nvPr/>
        </p:nvSpPr>
        <p:spPr>
          <a:xfrm>
            <a:off x="3462337" y="4978765"/>
            <a:ext cx="1764383"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Data Transformation </a:t>
            </a:r>
          </a:p>
        </p:txBody>
      </p:sp>
      <p:sp>
        <p:nvSpPr>
          <p:cNvPr id="16" name="Rectangle: Rounded Corners 15">
            <a:extLst>
              <a:ext uri="{FF2B5EF4-FFF2-40B4-BE49-F238E27FC236}">
                <a16:creationId xmlns:a16="http://schemas.microsoft.com/office/drawing/2014/main" id="{F3E910AB-ADBE-C75F-5CBC-DA8D6A7FF674}"/>
              </a:ext>
            </a:extLst>
          </p:cNvPr>
          <p:cNvSpPr/>
          <p:nvPr/>
        </p:nvSpPr>
        <p:spPr>
          <a:xfrm>
            <a:off x="5411329"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One Hot encoding</a:t>
            </a:r>
          </a:p>
        </p:txBody>
      </p:sp>
      <p:sp>
        <p:nvSpPr>
          <p:cNvPr id="17" name="Rectangle: Rounded Corners 16">
            <a:extLst>
              <a:ext uri="{FF2B5EF4-FFF2-40B4-BE49-F238E27FC236}">
                <a16:creationId xmlns:a16="http://schemas.microsoft.com/office/drawing/2014/main" id="{8E4BAC3F-3CC2-0B11-6D6F-A7E087AA6CC3}"/>
              </a:ext>
            </a:extLst>
          </p:cNvPr>
          <p:cNvSpPr/>
          <p:nvPr/>
        </p:nvSpPr>
        <p:spPr>
          <a:xfrm>
            <a:off x="708537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Feature engineering  </a:t>
            </a:r>
          </a:p>
        </p:txBody>
      </p:sp>
      <p:sp>
        <p:nvSpPr>
          <p:cNvPr id="18" name="Rectangle: Rounded Corners 17">
            <a:extLst>
              <a:ext uri="{FF2B5EF4-FFF2-40B4-BE49-F238E27FC236}">
                <a16:creationId xmlns:a16="http://schemas.microsoft.com/office/drawing/2014/main" id="{24D8AED3-99B3-3F75-5CFE-2EF0C5F9148A}"/>
              </a:ext>
            </a:extLst>
          </p:cNvPr>
          <p:cNvSpPr/>
          <p:nvPr/>
        </p:nvSpPr>
        <p:spPr>
          <a:xfrm>
            <a:off x="8759417"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Splitting data</a:t>
            </a:r>
          </a:p>
        </p:txBody>
      </p:sp>
      <p:sp>
        <p:nvSpPr>
          <p:cNvPr id="19" name="Arrow: Down 18">
            <a:extLst>
              <a:ext uri="{FF2B5EF4-FFF2-40B4-BE49-F238E27FC236}">
                <a16:creationId xmlns:a16="http://schemas.microsoft.com/office/drawing/2014/main" id="{8EC5EF8D-9BF6-2E88-DC85-748BFFB03CA9}"/>
              </a:ext>
            </a:extLst>
          </p:cNvPr>
          <p:cNvSpPr/>
          <p:nvPr/>
        </p:nvSpPr>
        <p:spPr>
          <a:xfrm>
            <a:off x="6014301" y="5920032"/>
            <a:ext cx="377072" cy="32993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01F7B830-340E-7C9B-E646-C5503BC54CAE}"/>
              </a:ext>
            </a:extLst>
          </p:cNvPr>
          <p:cNvSpPr/>
          <p:nvPr/>
        </p:nvSpPr>
        <p:spPr>
          <a:xfrm rot="10800000" flipV="1">
            <a:off x="4181248" y="6268824"/>
            <a:ext cx="3949595" cy="4001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Increased the model’s accuracy</a:t>
            </a:r>
          </a:p>
        </p:txBody>
      </p:sp>
      <p:pic>
        <p:nvPicPr>
          <p:cNvPr id="3" name="Picture 2">
            <a:extLst>
              <a:ext uri="{FF2B5EF4-FFF2-40B4-BE49-F238E27FC236}">
                <a16:creationId xmlns:a16="http://schemas.microsoft.com/office/drawing/2014/main" id="{CC532F43-D4A6-3BB9-6D0F-1E8B6B93B15E}"/>
              </a:ext>
            </a:extLst>
          </p:cNvPr>
          <p:cNvPicPr>
            <a:picLocks noChangeAspect="1"/>
          </p:cNvPicPr>
          <p:nvPr/>
        </p:nvPicPr>
        <p:blipFill>
          <a:blip r:embed="rId10"/>
          <a:stretch>
            <a:fillRect/>
          </a:stretch>
        </p:blipFill>
        <p:spPr>
          <a:xfrm>
            <a:off x="11402961" y="6129338"/>
            <a:ext cx="543001" cy="590632"/>
          </a:xfrm>
          <a:prstGeom prst="rect">
            <a:avLst/>
          </a:prstGeom>
        </p:spPr>
      </p:pic>
    </p:spTree>
    <p:extLst>
      <p:ext uri="{BB962C8B-B14F-4D97-AF65-F5344CB8AC3E}">
        <p14:creationId xmlns:p14="http://schemas.microsoft.com/office/powerpoint/2010/main" val="2268141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BE6A086-6D64-F951-C267-7103341B1007}"/>
              </a:ext>
            </a:extLst>
          </p:cNvPr>
          <p:cNvSpPr txBox="1"/>
          <p:nvPr/>
        </p:nvSpPr>
        <p:spPr>
          <a:xfrm>
            <a:off x="747253" y="747251"/>
            <a:ext cx="5919019" cy="1938992"/>
          </a:xfrm>
          <a:prstGeom prst="rect">
            <a:avLst/>
          </a:prstGeom>
          <a:noFill/>
        </p:spPr>
        <p:txBody>
          <a:bodyPr wrap="square" rtlCol="0">
            <a:spAutoFit/>
          </a:bodyPr>
          <a:lstStyle/>
          <a:p>
            <a:r>
              <a:rPr lang="en-US" sz="4000" b="1" dirty="0"/>
              <a:t>Problem Statement</a:t>
            </a:r>
          </a:p>
          <a:p>
            <a:endParaRPr lang="en-US" sz="4000" b="1" dirty="0"/>
          </a:p>
          <a:p>
            <a:endParaRPr lang="en-IN" sz="4000" b="1" dirty="0"/>
          </a:p>
        </p:txBody>
      </p:sp>
      <p:sp>
        <p:nvSpPr>
          <p:cNvPr id="7" name="TextBox 6">
            <a:extLst>
              <a:ext uri="{FF2B5EF4-FFF2-40B4-BE49-F238E27FC236}">
                <a16:creationId xmlns:a16="http://schemas.microsoft.com/office/drawing/2014/main" id="{92DFECD0-663B-2A9B-EA95-D0832C9B88E3}"/>
              </a:ext>
            </a:extLst>
          </p:cNvPr>
          <p:cNvSpPr txBox="1"/>
          <p:nvPr/>
        </p:nvSpPr>
        <p:spPr>
          <a:xfrm>
            <a:off x="491613" y="1716747"/>
            <a:ext cx="10068232" cy="3271921"/>
          </a:xfrm>
          <a:prstGeom prst="rect">
            <a:avLst/>
          </a:prstGeom>
          <a:noFill/>
        </p:spPr>
        <p:txBody>
          <a:bodyPr wrap="square" rtlCol="0">
            <a:spAutoFit/>
          </a:bodyPr>
          <a:lstStyle/>
          <a:p>
            <a:pPr marL="285750" indent="-285750" algn="just">
              <a:lnSpc>
                <a:spcPct val="150000"/>
              </a:lnSpc>
              <a:buFont typeface="Arial" panose="020B0604020202020204" pitchFamily="34" charset="0"/>
              <a:buChar char="•"/>
            </a:pPr>
            <a:r>
              <a:rPr lang="en-US" sz="2000" dirty="0"/>
              <a:t>Homeowners often lack the tools and insights needed to evaluate and optimize the energy efficiency of their household appliances, leading to inefficient energy usage and higher electricity bills. </a:t>
            </a:r>
          </a:p>
          <a:p>
            <a:pPr marL="285750" indent="-285750" algn="just">
              <a:lnSpc>
                <a:spcPct val="150000"/>
              </a:lnSpc>
              <a:buFont typeface="Arial" panose="020B0604020202020204" pitchFamily="34" charset="0"/>
              <a:buChar char="•"/>
            </a:pPr>
            <a:r>
              <a:rPr lang="en-US" sz="2000" dirty="0"/>
              <a:t>To address this, we will develop an </a:t>
            </a:r>
            <a:r>
              <a:rPr lang="en-US" sz="2000" b="1" dirty="0">
                <a:solidFill>
                  <a:srgbClr val="FF0000"/>
                </a:solidFill>
              </a:rPr>
              <a:t>AI-driven application that collects data on appliance features and energy consumption, evaluates their sustainability, and provides personalized recommendations along with a chatbot for optimizing energy usage </a:t>
            </a:r>
            <a:r>
              <a:rPr lang="en-US" sz="2000" dirty="0"/>
              <a:t>and implementing effective energy-saving measures.</a:t>
            </a:r>
            <a:endParaRPr lang="en-IN" sz="2000" dirty="0"/>
          </a:p>
        </p:txBody>
      </p:sp>
    </p:spTree>
    <p:extLst>
      <p:ext uri="{BB962C8B-B14F-4D97-AF65-F5344CB8AC3E}">
        <p14:creationId xmlns:p14="http://schemas.microsoft.com/office/powerpoint/2010/main" val="1325608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BF5B832-342B-8B3B-F7CF-411182A9A51B}"/>
              </a:ext>
            </a:extLst>
          </p:cNvPr>
          <p:cNvSpPr>
            <a:spLocks noGrp="1"/>
          </p:cNvSpPr>
          <p:nvPr>
            <p:ph type="title"/>
          </p:nvPr>
        </p:nvSpPr>
        <p:spPr>
          <a:xfrm>
            <a:off x="2905432" y="88491"/>
            <a:ext cx="7693742" cy="845574"/>
          </a:xfrm>
        </p:spPr>
        <p:txBody>
          <a:bodyPr/>
          <a:lstStyle/>
          <a:p>
            <a:r>
              <a:rPr lang="en-US" sz="4800" dirty="0"/>
              <a:t>Dataset Description</a:t>
            </a:r>
            <a:endParaRPr lang="en-IN" sz="4800" dirty="0"/>
          </a:p>
        </p:txBody>
      </p:sp>
      <p:sp>
        <p:nvSpPr>
          <p:cNvPr id="10" name="TextBox 9">
            <a:extLst>
              <a:ext uri="{FF2B5EF4-FFF2-40B4-BE49-F238E27FC236}">
                <a16:creationId xmlns:a16="http://schemas.microsoft.com/office/drawing/2014/main" id="{7ABFC06C-DD3F-0530-F7E6-225AFD1B89F4}"/>
              </a:ext>
            </a:extLst>
          </p:cNvPr>
          <p:cNvSpPr txBox="1"/>
          <p:nvPr/>
        </p:nvSpPr>
        <p:spPr>
          <a:xfrm>
            <a:off x="334296" y="894736"/>
            <a:ext cx="10264878" cy="6247864"/>
          </a:xfrm>
          <a:prstGeom prst="rect">
            <a:avLst/>
          </a:prstGeom>
          <a:noFill/>
        </p:spPr>
        <p:txBody>
          <a:bodyPr wrap="square" rtlCol="0">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Tenorite"/>
                <a:ea typeface="+mn-ea"/>
                <a:cs typeface="+mn-cs"/>
              </a:rPr>
              <a:t>The dataset captures metrics related to the usage of smart home devices, providing insights into </a:t>
            </a:r>
            <a:r>
              <a:rPr kumimoji="0" lang="en-US" sz="2000" b="0" i="0" u="none" strike="noStrike" kern="1200" cap="none" spc="0" normalizeH="0" baseline="0" noProof="0" dirty="0">
                <a:ln>
                  <a:noFill/>
                </a:ln>
                <a:solidFill>
                  <a:srgbClr val="FF0000"/>
                </a:solidFill>
                <a:effectLst/>
                <a:uLnTx/>
                <a:uFillTx/>
                <a:latin typeface="Tenorite"/>
                <a:ea typeface="+mn-ea"/>
                <a:cs typeface="+mn-cs"/>
              </a:rPr>
              <a:t>user behavior, device efficiency, and preferences</a:t>
            </a:r>
            <a:r>
              <a:rPr kumimoji="0" lang="en-US" sz="2000" b="0" i="0" u="none" strike="noStrike" kern="1200" cap="none" spc="0" normalizeH="0" baseline="0" noProof="0" dirty="0">
                <a:ln>
                  <a:noFill/>
                </a:ln>
                <a:solidFill>
                  <a:srgbClr val="000000"/>
                </a:solidFill>
                <a:effectLst/>
                <a:uLnTx/>
                <a:uFillTx/>
                <a:latin typeface="Tenorite"/>
                <a:ea typeface="+mn-ea"/>
                <a:cs typeface="+mn-cs"/>
              </a:rPr>
              <a:t>. </a:t>
            </a: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enorite"/>
                <a:ea typeface="+mn-ea"/>
                <a:cs typeface="+mn-cs"/>
              </a:rPr>
              <a:t>The data includes various features such as :</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UserID</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Unique identifier for each user.</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DeviceType</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Type of smart home device (e.g., Lights, Thermostat).</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UsageHoursPerDay</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Average hours per day the device is used.</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EnergyConsumption</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Daily energy consumption of the device (kWh).</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UserPreferences</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User preference for device usage (0 - Low, 1 - High).</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MalfunctionIncidents</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Number of malfunction incidents reported.</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DeviceAgeMonths</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Age of the device in months.</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SmartHomeEfficiency</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 (Target Variable):</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Efficiency status of the</a:t>
            </a:r>
          </a:p>
          <a:p>
            <a:pPr marL="0" marR="0" lvl="0" indent="0" algn="just" defTabSz="914400" rtl="0" eaLnBrk="0" fontAlgn="base" latinLnBrk="0" hangingPunct="0">
              <a:lnSpc>
                <a:spcPct val="15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smart home device (0 - Inefficient, 1 - Efficien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Tenorite"/>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2000" b="0" i="0" u="none" strike="noStrike" kern="1200" cap="none" spc="0" normalizeH="0" baseline="0" noProof="0" dirty="0">
              <a:ln>
                <a:noFill/>
              </a:ln>
              <a:solidFill>
                <a:srgbClr val="000000"/>
              </a:solidFill>
              <a:effectLst/>
              <a:uLnTx/>
              <a:uFillTx/>
              <a:latin typeface="Tenorite"/>
              <a:ea typeface="+mn-ea"/>
              <a:cs typeface="+mn-cs"/>
            </a:endParaRPr>
          </a:p>
        </p:txBody>
      </p:sp>
    </p:spTree>
    <p:extLst>
      <p:ext uri="{BB962C8B-B14F-4D97-AF65-F5344CB8AC3E}">
        <p14:creationId xmlns:p14="http://schemas.microsoft.com/office/powerpoint/2010/main" val="779750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0C8989F-41EC-D109-954C-352380257697}"/>
              </a:ext>
            </a:extLst>
          </p:cNvPr>
          <p:cNvSpPr txBox="1"/>
          <p:nvPr/>
        </p:nvSpPr>
        <p:spPr>
          <a:xfrm>
            <a:off x="2664542" y="196645"/>
            <a:ext cx="509311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Tenorite"/>
                <a:ea typeface="+mn-ea"/>
                <a:cs typeface="+mn-cs"/>
              </a:rPr>
              <a:t>Technologies Used </a:t>
            </a:r>
            <a:endParaRPr kumimoji="0" lang="en-IN" sz="3600" b="1" i="0" u="none" strike="noStrike" kern="1200" cap="none" spc="0" normalizeH="0" baseline="0" noProof="0" dirty="0">
              <a:ln>
                <a:noFill/>
              </a:ln>
              <a:solidFill>
                <a:srgbClr val="000000"/>
              </a:solidFill>
              <a:effectLst/>
              <a:uLnTx/>
              <a:uFillTx/>
              <a:latin typeface="Tenorite"/>
              <a:ea typeface="+mn-ea"/>
              <a:cs typeface="+mn-cs"/>
            </a:endParaRPr>
          </a:p>
        </p:txBody>
      </p:sp>
      <p:sp>
        <p:nvSpPr>
          <p:cNvPr id="5" name="Rectangle 4">
            <a:extLst>
              <a:ext uri="{FF2B5EF4-FFF2-40B4-BE49-F238E27FC236}">
                <a16:creationId xmlns:a16="http://schemas.microsoft.com/office/drawing/2014/main" id="{BFD8FC02-7717-67C8-73B7-172EF969922A}"/>
              </a:ext>
            </a:extLst>
          </p:cNvPr>
          <p:cNvSpPr/>
          <p:nvPr/>
        </p:nvSpPr>
        <p:spPr>
          <a:xfrm>
            <a:off x="1504336" y="1396180"/>
            <a:ext cx="2762864" cy="2032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FFFFFF"/>
                </a:solidFill>
                <a:effectLst/>
                <a:uLnTx/>
                <a:uFillTx/>
                <a:latin typeface="Tenorite"/>
                <a:ea typeface="+mn-ea"/>
                <a:cs typeface="+mn-cs"/>
              </a:rPr>
              <a:t>STREAML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Tenorite"/>
                <a:ea typeface="+mn-ea"/>
                <a:cs typeface="+mn-cs"/>
              </a:rPr>
              <a:t>Build and deploy an interactive and user-friendly web appli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p:txBody>
      </p:sp>
      <p:sp>
        <p:nvSpPr>
          <p:cNvPr id="6" name="Rectangle 5">
            <a:extLst>
              <a:ext uri="{FF2B5EF4-FFF2-40B4-BE49-F238E27FC236}">
                <a16:creationId xmlns:a16="http://schemas.microsoft.com/office/drawing/2014/main" id="{6843048E-378B-18B7-ED36-AE241F4BD493}"/>
              </a:ext>
            </a:extLst>
          </p:cNvPr>
          <p:cNvSpPr/>
          <p:nvPr/>
        </p:nvSpPr>
        <p:spPr>
          <a:xfrm>
            <a:off x="5125065" y="1396180"/>
            <a:ext cx="2762864" cy="2032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Tenorite"/>
                <a:ea typeface="+mn-ea"/>
                <a:cs typeface="+mn-cs"/>
              </a:rPr>
              <a:t>2. PYTH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Tenorite"/>
                <a:ea typeface="+mn-ea"/>
                <a:cs typeface="+mn-cs"/>
              </a:rPr>
              <a:t>Data analysis, and machine learning model implem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p:txBody>
      </p:sp>
      <p:sp>
        <p:nvSpPr>
          <p:cNvPr id="8" name="Rectangle 7">
            <a:extLst>
              <a:ext uri="{FF2B5EF4-FFF2-40B4-BE49-F238E27FC236}">
                <a16:creationId xmlns:a16="http://schemas.microsoft.com/office/drawing/2014/main" id="{EEAE1CC2-2B25-3A24-F9B8-CA6F036D1C90}"/>
              </a:ext>
            </a:extLst>
          </p:cNvPr>
          <p:cNvSpPr/>
          <p:nvPr/>
        </p:nvSpPr>
        <p:spPr>
          <a:xfrm>
            <a:off x="1504336" y="4178848"/>
            <a:ext cx="2762864" cy="2032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Tenorite"/>
                <a:ea typeface="+mn-ea"/>
                <a:cs typeface="+mn-cs"/>
              </a:rPr>
              <a:t>3. </a:t>
            </a:r>
            <a:r>
              <a:rPr kumimoji="0" lang="en-IN" sz="1800" b="1" i="0" u="none" strike="noStrike" kern="1200" cap="none" spc="0" normalizeH="0" baseline="0" noProof="0" dirty="0" err="1">
                <a:ln>
                  <a:noFill/>
                </a:ln>
                <a:solidFill>
                  <a:srgbClr val="FFFFFF"/>
                </a:solidFill>
                <a:effectLst/>
                <a:uLnTx/>
                <a:uFillTx/>
                <a:latin typeface="Tenorite"/>
                <a:ea typeface="+mn-ea"/>
                <a:cs typeface="+mn-cs"/>
              </a:rPr>
              <a:t>LangChain</a:t>
            </a:r>
            <a:r>
              <a:rPr kumimoji="0" lang="en-IN" sz="1800" b="1" i="0" u="none" strike="noStrike" kern="1200" cap="none" spc="0" normalizeH="0" baseline="0" noProof="0" dirty="0">
                <a:ln>
                  <a:noFill/>
                </a:ln>
                <a:solidFill>
                  <a:srgbClr val="FFFFFF"/>
                </a:solidFill>
                <a:effectLst/>
                <a:uLnTx/>
                <a:uFillTx/>
                <a:latin typeface="Tenorite"/>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enorite"/>
                <a:ea typeface="+mn-ea"/>
                <a:cs typeface="+mn-cs"/>
              </a:rPr>
              <a:t>Chain together LLMs with other components to generate personalized suggestions.</a:t>
            </a: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p:txBody>
      </p:sp>
      <p:sp>
        <p:nvSpPr>
          <p:cNvPr id="9" name="Rectangle 8">
            <a:extLst>
              <a:ext uri="{FF2B5EF4-FFF2-40B4-BE49-F238E27FC236}">
                <a16:creationId xmlns:a16="http://schemas.microsoft.com/office/drawing/2014/main" id="{BF8CECD8-BAF2-4FDD-66AF-70D7B5A7952C}"/>
              </a:ext>
            </a:extLst>
          </p:cNvPr>
          <p:cNvSpPr/>
          <p:nvPr/>
        </p:nvSpPr>
        <p:spPr>
          <a:xfrm>
            <a:off x="5125065" y="4178849"/>
            <a:ext cx="2762864" cy="2032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Tenorite"/>
                <a:ea typeface="+mn-ea"/>
                <a:cs typeface="+mn-cs"/>
              </a:rPr>
              <a:t>4. Google </a:t>
            </a:r>
            <a:r>
              <a:rPr kumimoji="0" lang="en-IN" sz="1800" b="1" i="0" u="none" strike="noStrike" kern="1200" cap="none" spc="0" normalizeH="0" baseline="0" noProof="0" dirty="0" err="1">
                <a:ln>
                  <a:noFill/>
                </a:ln>
                <a:solidFill>
                  <a:srgbClr val="FFFFFF"/>
                </a:solidFill>
                <a:effectLst/>
                <a:uLnTx/>
                <a:uFillTx/>
                <a:latin typeface="Tenorite"/>
                <a:ea typeface="+mn-ea"/>
                <a:cs typeface="+mn-cs"/>
              </a:rPr>
              <a:t>PaLM</a:t>
            </a:r>
            <a:r>
              <a:rPr kumimoji="0" lang="en-IN" sz="1800" b="1" i="0" u="none" strike="noStrike" kern="1200" cap="none" spc="0" normalizeH="0" baseline="0" noProof="0" dirty="0">
                <a:ln>
                  <a:noFill/>
                </a:ln>
                <a:solidFill>
                  <a:srgbClr val="FFFFFF"/>
                </a:solidFill>
                <a:effectLst/>
                <a:uLnTx/>
                <a:uFillTx/>
                <a:latin typeface="Tenorite"/>
                <a:ea typeface="+mn-ea"/>
                <a:cs typeface="+mn-cs"/>
              </a:rPr>
              <a:t> AP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enorite"/>
                <a:ea typeface="+mn-ea"/>
                <a:cs typeface="+mn-cs"/>
              </a:rPr>
              <a:t>Provide personalized suggestions for improving the sustainability of household appliances.</a:t>
            </a: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p:txBody>
      </p:sp>
    </p:spTree>
    <p:extLst>
      <p:ext uri="{BB962C8B-B14F-4D97-AF65-F5344CB8AC3E}">
        <p14:creationId xmlns:p14="http://schemas.microsoft.com/office/powerpoint/2010/main" val="527562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415301" y="-31259"/>
            <a:ext cx="10515600" cy="811922"/>
          </a:xfrm>
        </p:spPr>
        <p:txBody>
          <a:bodyPr/>
          <a:lstStyle/>
          <a:p>
            <a:r>
              <a:rPr lang="en-US" sz="3200" b="1" dirty="0"/>
              <a:t>Methodology and Outcome</a:t>
            </a:r>
            <a:endParaRPr lang="en-US" sz="1800" b="1" i="1" dirty="0">
              <a:highlight>
                <a:srgbClr val="FFFF00"/>
              </a:highlight>
            </a:endParaRP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326923" y="683716"/>
            <a:ext cx="11041380" cy="1797205"/>
          </a:xfrm>
        </p:spPr>
        <p:txBody>
          <a:bodyPr/>
          <a:lstStyle/>
          <a:p>
            <a:pPr marL="0" indent="0">
              <a:buNone/>
            </a:pPr>
            <a:r>
              <a:rPr lang="en-US" sz="2000" b="1" dirty="0"/>
              <a:t>1. Dataset Description and Exploration :</a:t>
            </a:r>
          </a:p>
          <a:p>
            <a:pPr algn="just">
              <a:lnSpc>
                <a:spcPct val="150000"/>
              </a:lnSpc>
            </a:pPr>
            <a:r>
              <a:rPr lang="en-US" sz="1800" dirty="0"/>
              <a:t>The dataset tracks smart home device usage, capturing metrics like device type, daily usage hours, energy consumption, user preferences, malfunction incidents, and device age, with the target variable indicating device efficiency (0 - Inefficient, 1 - Efficient). </a:t>
            </a:r>
          </a:p>
        </p:txBody>
      </p:sp>
      <p:sp>
        <p:nvSpPr>
          <p:cNvPr id="3" name="AutoShape 2" descr="Indian Institute of Management Calcutta - Wikipedia">
            <a:extLst>
              <a:ext uri="{FF2B5EF4-FFF2-40B4-BE49-F238E27FC236}">
                <a16:creationId xmlns:a16="http://schemas.microsoft.com/office/drawing/2014/main" id="{6FCB5089-6CF7-68B2-EA78-C042DB627D05}"/>
              </a:ext>
            </a:extLst>
          </p:cNvPr>
          <p:cNvSpPr>
            <a:spLocks noChangeAspect="1" noChangeArrowheads="1"/>
          </p:cNvSpPr>
          <p:nvPr/>
        </p:nvSpPr>
        <p:spPr bwMode="auto">
          <a:xfrm>
            <a:off x="4298795" y="3224100"/>
            <a:ext cx="1797205" cy="179720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9" name="Diagram 8">
            <a:extLst>
              <a:ext uri="{FF2B5EF4-FFF2-40B4-BE49-F238E27FC236}">
                <a16:creationId xmlns:a16="http://schemas.microsoft.com/office/drawing/2014/main" id="{48AB3BDB-635F-2A49-F457-2DD742555B1C}"/>
              </a:ext>
            </a:extLst>
          </p:cNvPr>
          <p:cNvGraphicFramePr/>
          <p:nvPr/>
        </p:nvGraphicFramePr>
        <p:xfrm>
          <a:off x="691765" y="2480921"/>
          <a:ext cx="8440772" cy="3693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69B89921-D272-B54B-8742-C3627ABEF93C}"/>
              </a:ext>
            </a:extLst>
          </p:cNvPr>
          <p:cNvGrpSpPr/>
          <p:nvPr/>
        </p:nvGrpSpPr>
        <p:grpSpPr>
          <a:xfrm>
            <a:off x="9242180" y="2585972"/>
            <a:ext cx="2625356" cy="489600"/>
            <a:chOff x="5686952" y="100998"/>
            <a:chExt cx="2104390" cy="489600"/>
          </a:xfrm>
        </p:grpSpPr>
        <p:sp>
          <p:nvSpPr>
            <p:cNvPr id="14" name="Rectangle 13">
              <a:extLst>
                <a:ext uri="{FF2B5EF4-FFF2-40B4-BE49-F238E27FC236}">
                  <a16:creationId xmlns:a16="http://schemas.microsoft.com/office/drawing/2014/main" id="{39B52077-07A5-79D9-4679-4D86F33CD798}"/>
                </a:ext>
              </a:extLst>
            </p:cNvPr>
            <p:cNvSpPr/>
            <p:nvPr/>
          </p:nvSpPr>
          <p:spPr>
            <a:xfrm>
              <a:off x="5686952" y="100998"/>
              <a:ext cx="2104390" cy="48960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TextBox 14">
              <a:extLst>
                <a:ext uri="{FF2B5EF4-FFF2-40B4-BE49-F238E27FC236}">
                  <a16:creationId xmlns:a16="http://schemas.microsoft.com/office/drawing/2014/main" id="{CA5BECBA-CEBC-6057-2844-933764B6ADDB}"/>
                </a:ext>
              </a:extLst>
            </p:cNvPr>
            <p:cNvSpPr txBox="1"/>
            <p:nvPr/>
          </p:nvSpPr>
          <p:spPr>
            <a:xfrm>
              <a:off x="5686952" y="100998"/>
              <a:ext cx="2104390"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b="1" kern="1200" dirty="0"/>
                <a:t>Data S</a:t>
              </a:r>
              <a:r>
                <a:rPr lang="en-US" sz="1700" b="1" dirty="0"/>
                <a:t>plitting</a:t>
              </a:r>
              <a:endParaRPr lang="en-IN" sz="1700" b="1" kern="1200" dirty="0"/>
            </a:p>
          </p:txBody>
        </p:sp>
      </p:grpSp>
      <p:grpSp>
        <p:nvGrpSpPr>
          <p:cNvPr id="11" name="Group 10">
            <a:extLst>
              <a:ext uri="{FF2B5EF4-FFF2-40B4-BE49-F238E27FC236}">
                <a16:creationId xmlns:a16="http://schemas.microsoft.com/office/drawing/2014/main" id="{4F4AE1B1-15F7-8C87-4CFE-B21E4DC6A730}"/>
              </a:ext>
            </a:extLst>
          </p:cNvPr>
          <p:cNvGrpSpPr/>
          <p:nvPr/>
        </p:nvGrpSpPr>
        <p:grpSpPr>
          <a:xfrm>
            <a:off x="9242180" y="3075572"/>
            <a:ext cx="2625356" cy="3001765"/>
            <a:chOff x="5686952" y="590598"/>
            <a:chExt cx="2104390" cy="3001765"/>
          </a:xfrm>
        </p:grpSpPr>
        <p:sp>
          <p:nvSpPr>
            <p:cNvPr id="12" name="Rectangle 11">
              <a:extLst>
                <a:ext uri="{FF2B5EF4-FFF2-40B4-BE49-F238E27FC236}">
                  <a16:creationId xmlns:a16="http://schemas.microsoft.com/office/drawing/2014/main" id="{8DC4547E-2C32-6FA1-2648-CC0C985D6C7E}"/>
                </a:ext>
              </a:extLst>
            </p:cNvPr>
            <p:cNvSpPr/>
            <p:nvPr/>
          </p:nvSpPr>
          <p:spPr>
            <a:xfrm>
              <a:off x="5686952" y="590598"/>
              <a:ext cx="2104390" cy="3001765"/>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3" name="TextBox 12">
              <a:extLst>
                <a:ext uri="{FF2B5EF4-FFF2-40B4-BE49-F238E27FC236}">
                  <a16:creationId xmlns:a16="http://schemas.microsoft.com/office/drawing/2014/main" id="{9A47D3E2-30DB-1653-3193-ABC38B0368F9}"/>
                </a:ext>
              </a:extLst>
            </p:cNvPr>
            <p:cNvSpPr txBox="1"/>
            <p:nvPr/>
          </p:nvSpPr>
          <p:spPr>
            <a:xfrm>
              <a:off x="5686952" y="590598"/>
              <a:ext cx="2104390" cy="300176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171450" lvl="1" indent="-171450" algn="just" defTabSz="755650">
                <a:spcBef>
                  <a:spcPct val="0"/>
                </a:spcBef>
                <a:spcAft>
                  <a:spcPct val="15000"/>
                </a:spcAft>
                <a:buChar char="•"/>
              </a:pPr>
              <a:r>
                <a:rPr lang="en-US" dirty="0"/>
                <a:t>Divided the dataset into </a:t>
              </a:r>
              <a:r>
                <a:rPr lang="en-US" b="1" dirty="0"/>
                <a:t>training (67%) and test (33%) sets </a:t>
              </a:r>
              <a:r>
                <a:rPr lang="en-US" dirty="0"/>
                <a:t>to train and also evaluate model performance on unseen data.</a:t>
              </a:r>
              <a:endParaRPr lang="en-IN" kern="1200" dirty="0"/>
            </a:p>
          </p:txBody>
        </p:sp>
      </p:grpSp>
    </p:spTree>
    <p:custDataLst>
      <p:tags r:id="rId1"/>
    </p:custDataLst>
    <p:extLst>
      <p:ext uri="{BB962C8B-B14F-4D97-AF65-F5344CB8AC3E}">
        <p14:creationId xmlns:p14="http://schemas.microsoft.com/office/powerpoint/2010/main" val="2914834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130165" y="-117987"/>
            <a:ext cx="10515600" cy="811922"/>
          </a:xfrm>
        </p:spPr>
        <p:txBody>
          <a:bodyPr/>
          <a:lstStyle/>
          <a:p>
            <a:r>
              <a:rPr lang="en-US" sz="3200" b="1" dirty="0"/>
              <a:t>Methodology and Outcome</a:t>
            </a:r>
            <a:endParaRPr lang="en-US" sz="1800" i="1" dirty="0">
              <a:highlight>
                <a:srgbClr val="FFFF00"/>
              </a:highlight>
            </a:endParaRPr>
          </a:p>
        </p:txBody>
      </p:sp>
      <p:graphicFrame>
        <p:nvGraphicFramePr>
          <p:cNvPr id="7" name="Table 6">
            <a:extLst>
              <a:ext uri="{FF2B5EF4-FFF2-40B4-BE49-F238E27FC236}">
                <a16:creationId xmlns:a16="http://schemas.microsoft.com/office/drawing/2014/main" id="{D44E8E34-A7AD-E302-EF07-EE39F2F220DB}"/>
              </a:ext>
            </a:extLst>
          </p:cNvPr>
          <p:cNvGraphicFramePr>
            <a:graphicFrameLocks noGrp="1"/>
          </p:cNvGraphicFramePr>
          <p:nvPr/>
        </p:nvGraphicFramePr>
        <p:xfrm>
          <a:off x="206475" y="1713237"/>
          <a:ext cx="11779050" cy="3662516"/>
        </p:xfrm>
        <a:graphic>
          <a:graphicData uri="http://schemas.openxmlformats.org/drawingml/2006/table">
            <a:tbl>
              <a:tblPr firstRow="1" bandRow="1">
                <a:tableStyleId>{5C22544A-7EE6-4342-B048-85BDC9FD1C3A}</a:tableStyleId>
              </a:tblPr>
              <a:tblGrid>
                <a:gridCol w="1963175">
                  <a:extLst>
                    <a:ext uri="{9D8B030D-6E8A-4147-A177-3AD203B41FA5}">
                      <a16:colId xmlns:a16="http://schemas.microsoft.com/office/drawing/2014/main" val="20000"/>
                    </a:ext>
                  </a:extLst>
                </a:gridCol>
                <a:gridCol w="1963175">
                  <a:extLst>
                    <a:ext uri="{9D8B030D-6E8A-4147-A177-3AD203B41FA5}">
                      <a16:colId xmlns:a16="http://schemas.microsoft.com/office/drawing/2014/main" val="20001"/>
                    </a:ext>
                  </a:extLst>
                </a:gridCol>
                <a:gridCol w="1963175">
                  <a:extLst>
                    <a:ext uri="{9D8B030D-6E8A-4147-A177-3AD203B41FA5}">
                      <a16:colId xmlns:a16="http://schemas.microsoft.com/office/drawing/2014/main" val="20002"/>
                    </a:ext>
                  </a:extLst>
                </a:gridCol>
                <a:gridCol w="1963175">
                  <a:extLst>
                    <a:ext uri="{9D8B030D-6E8A-4147-A177-3AD203B41FA5}">
                      <a16:colId xmlns:a16="http://schemas.microsoft.com/office/drawing/2014/main" val="3604843362"/>
                    </a:ext>
                  </a:extLst>
                </a:gridCol>
                <a:gridCol w="1963175">
                  <a:extLst>
                    <a:ext uri="{9D8B030D-6E8A-4147-A177-3AD203B41FA5}">
                      <a16:colId xmlns:a16="http://schemas.microsoft.com/office/drawing/2014/main" val="1171883786"/>
                    </a:ext>
                  </a:extLst>
                </a:gridCol>
                <a:gridCol w="1963175">
                  <a:extLst>
                    <a:ext uri="{9D8B030D-6E8A-4147-A177-3AD203B41FA5}">
                      <a16:colId xmlns:a16="http://schemas.microsoft.com/office/drawing/2014/main" val="3779403870"/>
                    </a:ext>
                  </a:extLst>
                </a:gridCol>
              </a:tblGrid>
              <a:tr h="754048">
                <a:tc>
                  <a:txBody>
                    <a:bodyPr/>
                    <a:lstStyle/>
                    <a:p>
                      <a:r>
                        <a:rPr dirty="0"/>
                        <a:t>Metric</a:t>
                      </a:r>
                    </a:p>
                  </a:txBody>
                  <a:tcPr/>
                </a:tc>
                <a:tc>
                  <a:txBody>
                    <a:bodyPr/>
                    <a:lstStyle/>
                    <a:p>
                      <a:r>
                        <a:rPr dirty="0"/>
                        <a:t>Logistic Regression</a:t>
                      </a:r>
                    </a:p>
                  </a:txBody>
                  <a:tcPr/>
                </a:tc>
                <a:tc>
                  <a:txBody>
                    <a:bodyPr/>
                    <a:lstStyle/>
                    <a:p>
                      <a:r>
                        <a:rPr dirty="0"/>
                        <a:t>Random Forest </a:t>
                      </a:r>
                      <a:r>
                        <a:rPr lang="en-US" dirty="0"/>
                        <a:t>  </a:t>
                      </a:r>
                      <a:r>
                        <a:rPr dirty="0"/>
                        <a:t>Classifier</a:t>
                      </a:r>
                    </a:p>
                  </a:txBody>
                  <a:tcPr/>
                </a:tc>
                <a:tc>
                  <a:txBody>
                    <a:bodyPr/>
                    <a:lstStyle/>
                    <a:p>
                      <a:pPr algn="ctr"/>
                      <a:r>
                        <a:rPr lang="en-US" dirty="0"/>
                        <a:t>    Decision Tree </a:t>
                      </a:r>
                      <a:endParaRPr dirty="0"/>
                    </a:p>
                  </a:txBody>
                  <a:tcPr/>
                </a:tc>
                <a:tc>
                  <a:txBody>
                    <a:bodyPr/>
                    <a:lstStyle/>
                    <a:p>
                      <a:r>
                        <a:rPr lang="en-US" dirty="0"/>
                        <a:t>K-Nearest </a:t>
                      </a:r>
                      <a:r>
                        <a:rPr lang="en-US" dirty="0" err="1"/>
                        <a:t>Neighbour</a:t>
                      </a:r>
                      <a:endParaRPr dirty="0"/>
                    </a:p>
                  </a:txBody>
                  <a:tcPr/>
                </a:tc>
                <a:tc>
                  <a:txBody>
                    <a:bodyPr/>
                    <a:lstStyle/>
                    <a:p>
                      <a:r>
                        <a:rPr lang="en-US" dirty="0"/>
                        <a:t>Support Vector Classifier</a:t>
                      </a:r>
                      <a:endParaRPr dirty="0"/>
                    </a:p>
                  </a:txBody>
                  <a:tcPr/>
                </a:tc>
                <a:extLst>
                  <a:ext uri="{0D108BD9-81ED-4DB2-BD59-A6C34878D82A}">
                    <a16:rowId xmlns:a16="http://schemas.microsoft.com/office/drawing/2014/main" val="10000"/>
                  </a:ext>
                </a:extLst>
              </a:tr>
              <a:tr h="430884">
                <a:tc>
                  <a:txBody>
                    <a:bodyPr/>
                    <a:lstStyle/>
                    <a:p>
                      <a:r>
                        <a:t>Train Accuracy</a:t>
                      </a:r>
                    </a:p>
                  </a:txBody>
                  <a:tcPr/>
                </a:tc>
                <a:tc>
                  <a:txBody>
                    <a:bodyPr/>
                    <a:lstStyle/>
                    <a:p>
                      <a:r>
                        <a:rPr dirty="0"/>
                        <a:t>87.73%</a:t>
                      </a:r>
                    </a:p>
                  </a:txBody>
                  <a:tcPr/>
                </a:tc>
                <a:tc>
                  <a:txBody>
                    <a:bodyPr/>
                    <a:lstStyle/>
                    <a:p>
                      <a:r>
                        <a:rPr dirty="0"/>
                        <a:t>100%</a:t>
                      </a:r>
                    </a:p>
                  </a:txBody>
                  <a:tcPr/>
                </a:tc>
                <a:tc>
                  <a:txBody>
                    <a:bodyPr/>
                    <a:lstStyle/>
                    <a:p>
                      <a:r>
                        <a:rPr lang="en-US" dirty="0"/>
                        <a:t>100%</a:t>
                      </a:r>
                      <a:endParaRPr dirty="0"/>
                    </a:p>
                  </a:txBody>
                  <a:tcPr/>
                </a:tc>
                <a:tc>
                  <a:txBody>
                    <a:bodyPr/>
                    <a:lstStyle/>
                    <a:p>
                      <a:r>
                        <a:rPr lang="en-US" dirty="0"/>
                        <a:t>95%</a:t>
                      </a:r>
                      <a:endParaRPr dirty="0"/>
                    </a:p>
                  </a:txBody>
                  <a:tcPr/>
                </a:tc>
                <a:tc>
                  <a:txBody>
                    <a:bodyPr/>
                    <a:lstStyle/>
                    <a:p>
                      <a:r>
                        <a:rPr lang="en-US" dirty="0"/>
                        <a:t>92%</a:t>
                      </a:r>
                      <a:endParaRPr dirty="0"/>
                    </a:p>
                  </a:txBody>
                  <a:tcPr/>
                </a:tc>
                <a:extLst>
                  <a:ext uri="{0D108BD9-81ED-4DB2-BD59-A6C34878D82A}">
                    <a16:rowId xmlns:a16="http://schemas.microsoft.com/office/drawing/2014/main" val="10001"/>
                  </a:ext>
                </a:extLst>
              </a:tr>
              <a:tr h="430884">
                <a:tc>
                  <a:txBody>
                    <a:bodyPr/>
                    <a:lstStyle/>
                    <a:p>
                      <a:r>
                        <a:t>Test Accuracy</a:t>
                      </a:r>
                    </a:p>
                  </a:txBody>
                  <a:tcPr/>
                </a:tc>
                <a:tc>
                  <a:txBody>
                    <a:bodyPr/>
                    <a:lstStyle/>
                    <a:p>
                      <a:r>
                        <a:t>86%</a:t>
                      </a:r>
                    </a:p>
                  </a:txBody>
                  <a:tcPr/>
                </a:tc>
                <a:tc>
                  <a:txBody>
                    <a:bodyPr/>
                    <a:lstStyle/>
                    <a:p>
                      <a:r>
                        <a:rPr dirty="0"/>
                        <a:t>95%</a:t>
                      </a:r>
                    </a:p>
                  </a:txBody>
                  <a:tcPr/>
                </a:tc>
                <a:tc>
                  <a:txBody>
                    <a:bodyPr/>
                    <a:lstStyle/>
                    <a:p>
                      <a:r>
                        <a:rPr lang="en-US" dirty="0"/>
                        <a:t>89%</a:t>
                      </a:r>
                      <a:endParaRPr dirty="0"/>
                    </a:p>
                  </a:txBody>
                  <a:tcPr/>
                </a:tc>
                <a:tc>
                  <a:txBody>
                    <a:bodyPr/>
                    <a:lstStyle/>
                    <a:p>
                      <a:r>
                        <a:rPr lang="en-US" dirty="0"/>
                        <a:t>93%</a:t>
                      </a:r>
                      <a:endParaRPr dirty="0"/>
                    </a:p>
                  </a:txBody>
                  <a:tcPr/>
                </a:tc>
                <a:tc>
                  <a:txBody>
                    <a:bodyPr/>
                    <a:lstStyle/>
                    <a:p>
                      <a:r>
                        <a:rPr lang="en-US" dirty="0"/>
                        <a:t>91%</a:t>
                      </a:r>
                      <a:endParaRPr dirty="0"/>
                    </a:p>
                  </a:txBody>
                  <a:tcPr/>
                </a:tc>
                <a:extLst>
                  <a:ext uri="{0D108BD9-81ED-4DB2-BD59-A6C34878D82A}">
                    <a16:rowId xmlns:a16="http://schemas.microsoft.com/office/drawing/2014/main" val="10002"/>
                  </a:ext>
                </a:extLst>
              </a:tr>
              <a:tr h="430884">
                <a:tc>
                  <a:txBody>
                    <a:bodyPr/>
                    <a:lstStyle/>
                    <a:p>
                      <a:r>
                        <a:t>Precision (Average)</a:t>
                      </a:r>
                    </a:p>
                  </a:txBody>
                  <a:tcPr/>
                </a:tc>
                <a:tc>
                  <a:txBody>
                    <a:bodyPr/>
                    <a:lstStyle/>
                    <a:p>
                      <a:r>
                        <a:rPr dirty="0"/>
                        <a:t>0.87</a:t>
                      </a:r>
                    </a:p>
                  </a:txBody>
                  <a:tcPr/>
                </a:tc>
                <a:tc>
                  <a:txBody>
                    <a:bodyPr/>
                    <a:lstStyle/>
                    <a:p>
                      <a:r>
                        <a:rPr dirty="0"/>
                        <a:t>0.95</a:t>
                      </a:r>
                    </a:p>
                  </a:txBody>
                  <a:tcPr/>
                </a:tc>
                <a:tc>
                  <a:txBody>
                    <a:bodyPr/>
                    <a:lstStyle/>
                    <a:p>
                      <a:r>
                        <a:rPr lang="en-US" dirty="0"/>
                        <a:t>0.89</a:t>
                      </a:r>
                      <a:endParaRPr dirty="0"/>
                    </a:p>
                  </a:txBody>
                  <a:tcPr/>
                </a:tc>
                <a:tc>
                  <a:txBody>
                    <a:bodyPr/>
                    <a:lstStyle/>
                    <a:p>
                      <a:r>
                        <a:rPr lang="en-US" dirty="0"/>
                        <a:t>0.90</a:t>
                      </a:r>
                      <a:endParaRPr dirty="0"/>
                    </a:p>
                  </a:txBody>
                  <a:tcPr/>
                </a:tc>
                <a:tc>
                  <a:txBody>
                    <a:bodyPr/>
                    <a:lstStyle/>
                    <a:p>
                      <a:r>
                        <a:rPr lang="en-US" dirty="0"/>
                        <a:t>0.91</a:t>
                      </a:r>
                      <a:endParaRPr dirty="0"/>
                    </a:p>
                  </a:txBody>
                  <a:tcPr/>
                </a:tc>
                <a:extLst>
                  <a:ext uri="{0D108BD9-81ED-4DB2-BD59-A6C34878D82A}">
                    <a16:rowId xmlns:a16="http://schemas.microsoft.com/office/drawing/2014/main" val="10003"/>
                  </a:ext>
                </a:extLst>
              </a:tr>
              <a:tr h="430884">
                <a:tc>
                  <a:txBody>
                    <a:bodyPr/>
                    <a:lstStyle/>
                    <a:p>
                      <a:r>
                        <a:t>Recall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4"/>
                  </a:ext>
                </a:extLst>
              </a:tr>
              <a:tr h="430884">
                <a:tc>
                  <a:txBody>
                    <a:bodyPr/>
                    <a:lstStyle/>
                    <a:p>
                      <a:r>
                        <a:t>F1-Score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5"/>
                  </a:ext>
                </a:extLst>
              </a:tr>
              <a:tr h="754048">
                <a:tc>
                  <a:txBody>
                    <a:bodyPr/>
                    <a:lstStyle/>
                    <a:p>
                      <a:r>
                        <a:t>Overall Model Performance</a:t>
                      </a:r>
                    </a:p>
                  </a:txBody>
                  <a:tcPr/>
                </a:tc>
                <a:tc>
                  <a:txBody>
                    <a:bodyPr/>
                    <a:lstStyle/>
                    <a:p>
                      <a:r>
                        <a:rPr lang="en-US" dirty="0"/>
                        <a:t>Average</a:t>
                      </a:r>
                      <a:endParaRPr dirty="0"/>
                    </a:p>
                  </a:txBody>
                  <a:tcPr/>
                </a:tc>
                <a:tc>
                  <a:txBody>
                    <a:bodyPr/>
                    <a:lstStyle/>
                    <a:p>
                      <a:r>
                        <a:rPr dirty="0"/>
                        <a:t>Excellent</a:t>
                      </a:r>
                    </a:p>
                  </a:txBody>
                  <a:tcPr/>
                </a:tc>
                <a:tc>
                  <a:txBody>
                    <a:bodyPr/>
                    <a:lstStyle/>
                    <a:p>
                      <a:r>
                        <a:rPr lang="en-US" dirty="0"/>
                        <a:t>Average</a:t>
                      </a:r>
                      <a:endParaRPr dirty="0"/>
                    </a:p>
                  </a:txBody>
                  <a:tcPr/>
                </a:tc>
                <a:tc>
                  <a:txBody>
                    <a:bodyPr/>
                    <a:lstStyle/>
                    <a:p>
                      <a:r>
                        <a:rPr lang="en-US" dirty="0"/>
                        <a:t>Good</a:t>
                      </a:r>
                      <a:endParaRPr dirty="0"/>
                    </a:p>
                  </a:txBody>
                  <a:tcPr/>
                </a:tc>
                <a:tc>
                  <a:txBody>
                    <a:bodyPr/>
                    <a:lstStyle/>
                    <a:p>
                      <a:r>
                        <a:rPr lang="en-US" dirty="0"/>
                        <a:t>Good</a:t>
                      </a:r>
                      <a:endParaRPr dirty="0"/>
                    </a:p>
                  </a:txBody>
                  <a:tcPr/>
                </a:tc>
                <a:extLst>
                  <a:ext uri="{0D108BD9-81ED-4DB2-BD59-A6C34878D82A}">
                    <a16:rowId xmlns:a16="http://schemas.microsoft.com/office/drawing/2014/main" val="10006"/>
                  </a:ext>
                </a:extLst>
              </a:tr>
            </a:tbl>
          </a:graphicData>
        </a:graphic>
      </p:graphicFrame>
      <p:sp>
        <p:nvSpPr>
          <p:cNvPr id="8" name="TextBox 7">
            <a:extLst>
              <a:ext uri="{FF2B5EF4-FFF2-40B4-BE49-F238E27FC236}">
                <a16:creationId xmlns:a16="http://schemas.microsoft.com/office/drawing/2014/main" id="{D052E652-B8A3-AC90-E07C-831AE54A7DC5}"/>
              </a:ext>
            </a:extLst>
          </p:cNvPr>
          <p:cNvSpPr txBox="1"/>
          <p:nvPr/>
        </p:nvSpPr>
        <p:spPr>
          <a:xfrm>
            <a:off x="206475" y="559367"/>
            <a:ext cx="11779050" cy="1015663"/>
          </a:xfrm>
          <a:prstGeom prst="rect">
            <a:avLst/>
          </a:prstGeom>
          <a:noFill/>
        </p:spPr>
        <p:txBody>
          <a:bodyPr wrap="square" rtlCol="0">
            <a:spAutoFit/>
          </a:bodyPr>
          <a:lstStyle/>
          <a:p>
            <a:pPr algn="just"/>
            <a:r>
              <a:rPr lang="en-US" sz="2400" b="1" dirty="0">
                <a:solidFill>
                  <a:srgbClr val="0070C0"/>
                </a:solidFill>
              </a:rPr>
              <a:t>2. Developing the ML models :</a:t>
            </a:r>
          </a:p>
          <a:p>
            <a:pPr algn="just"/>
            <a:r>
              <a:rPr lang="en-US" dirty="0"/>
              <a:t>We evaluate the performance of five machine learning models after training with the given data : Logistic Regression , Random Forest Classifier , Decision Tree, K-nearest </a:t>
            </a:r>
            <a:r>
              <a:rPr lang="en-US" dirty="0" err="1"/>
              <a:t>neighbour</a:t>
            </a:r>
            <a:r>
              <a:rPr lang="en-US" dirty="0"/>
              <a:t> and Support Vector Classifier and below are the outcomes.</a:t>
            </a:r>
            <a:endParaRPr lang="en-IN" dirty="0"/>
          </a:p>
        </p:txBody>
      </p:sp>
      <p:sp>
        <p:nvSpPr>
          <p:cNvPr id="16" name="TextBox 15">
            <a:extLst>
              <a:ext uri="{FF2B5EF4-FFF2-40B4-BE49-F238E27FC236}">
                <a16:creationId xmlns:a16="http://schemas.microsoft.com/office/drawing/2014/main" id="{32058377-0986-FAA4-0677-0061673BE331}"/>
              </a:ext>
            </a:extLst>
          </p:cNvPr>
          <p:cNvSpPr txBox="1"/>
          <p:nvPr/>
        </p:nvSpPr>
        <p:spPr>
          <a:xfrm>
            <a:off x="0" y="5472139"/>
            <a:ext cx="12113344" cy="1200329"/>
          </a:xfrm>
          <a:prstGeom prst="rect">
            <a:avLst/>
          </a:prstGeom>
          <a:noFill/>
        </p:spPr>
        <p:txBody>
          <a:bodyPr wrap="square" rtlCol="0">
            <a:spAutoFit/>
          </a:bodyPr>
          <a:lstStyle/>
          <a:p>
            <a:pPr marL="285750" indent="-285750" algn="just">
              <a:buFont typeface="Arial" panose="020B0604020202020204" pitchFamily="34" charset="0"/>
              <a:buChar char="•"/>
            </a:pPr>
            <a:r>
              <a:rPr lang="en-US" dirty="0"/>
              <a:t>Random Forest Classifier stands out with excellent performance, achieving perfect training accuracy and the highest test accuracy (95%) among the models.</a:t>
            </a:r>
          </a:p>
          <a:p>
            <a:pPr marL="285750" indent="-285750" algn="just">
              <a:buFont typeface="Arial" panose="020B0604020202020204" pitchFamily="34" charset="0"/>
              <a:buChar char="•"/>
            </a:pPr>
            <a:r>
              <a:rPr lang="en-US" dirty="0"/>
              <a:t>Logistic Regression, Decision Tree, K-Nearest Neighbors, and Support Vector Classifier have good overall performance, with KNN and SVC showing slightly better precision, recall, and F1-scores compared to Logistic Regression and Decision Tree.</a:t>
            </a:r>
            <a:endParaRPr lang="en-IN" dirty="0"/>
          </a:p>
        </p:txBody>
      </p:sp>
    </p:spTree>
    <p:custDataLst>
      <p:tags r:id="rId1"/>
    </p:custDataLst>
    <p:extLst>
      <p:ext uri="{BB962C8B-B14F-4D97-AF65-F5344CB8AC3E}">
        <p14:creationId xmlns:p14="http://schemas.microsoft.com/office/powerpoint/2010/main" val="3037094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3EC414-F4BA-BBD2-02EF-24318BA15E8D}"/>
              </a:ext>
            </a:extLst>
          </p:cNvPr>
          <p:cNvSpPr/>
          <p:nvPr/>
        </p:nvSpPr>
        <p:spPr>
          <a:xfrm>
            <a:off x="371304" y="120693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Data Loading &amp; Thresholds Definition</a:t>
            </a: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Load device statistics from the dataset and define thresholds for features.</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83A91EE2-E2D8-B6CC-B802-1691A6C0D1B3}"/>
              </a:ext>
            </a:extLst>
          </p:cNvPr>
          <p:cNvSpPr/>
          <p:nvPr/>
        </p:nvSpPr>
        <p:spPr>
          <a:xfrm>
            <a:off x="322626" y="266210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User Input &amp; Data Colle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Users input details for multiple appliances (type, usage hours, etc.).</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D4B4E64-E26A-C6BD-F842-1F787DE33D4C}"/>
              </a:ext>
            </a:extLst>
          </p:cNvPr>
          <p:cNvSpPr/>
          <p:nvPr/>
        </p:nvSpPr>
        <p:spPr>
          <a:xfrm>
            <a:off x="322626" y="423278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Rule-Based Sugges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ly predefined rules to assess efficiency and generate basic suggestions.</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3534B048-B59C-FE46-1BBA-B2704EF5F9DB}"/>
              </a:ext>
            </a:extLst>
          </p:cNvPr>
          <p:cNvSpPr/>
          <p:nvPr/>
        </p:nvSpPr>
        <p:spPr>
          <a:xfrm>
            <a:off x="304171" y="581579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AI-Based Sugges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Use Googl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PaLM</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to generate additional suggestions for improving sustainability.</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B0C981F-F9DD-A781-6DAF-F6F0C8C08890}"/>
              </a:ext>
            </a:extLst>
          </p:cNvPr>
          <p:cNvSpPr/>
          <p:nvPr/>
        </p:nvSpPr>
        <p:spPr>
          <a:xfrm>
            <a:off x="6335662" y="115758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User Interf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Interactive interface created with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Streamli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for input and results display.</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2EAA094-AB31-BEE5-87F2-7DF0288C2C39}"/>
              </a:ext>
            </a:extLst>
          </p:cNvPr>
          <p:cNvSpPr/>
          <p:nvPr/>
        </p:nvSpPr>
        <p:spPr>
          <a:xfrm>
            <a:off x="6307392" y="4257724"/>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Comparative Analys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ompare all input appliances and provide comparative recommend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E50EE332-A161-3225-75E2-53D736B48627}"/>
              </a:ext>
            </a:extLst>
          </p:cNvPr>
          <p:cNvSpPr/>
          <p:nvPr/>
        </p:nvSpPr>
        <p:spPr>
          <a:xfrm>
            <a:off x="6425384" y="579126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Alternative Recommend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Suggest more sustainable alternatives for inefficient appliances.</a:t>
            </a:r>
          </a:p>
        </p:txBody>
      </p:sp>
      <p:sp>
        <p:nvSpPr>
          <p:cNvPr id="14" name="Rectangle 13">
            <a:extLst>
              <a:ext uri="{FF2B5EF4-FFF2-40B4-BE49-F238E27FC236}">
                <a16:creationId xmlns:a16="http://schemas.microsoft.com/office/drawing/2014/main" id="{55660B83-218F-3218-4CCE-DE5F46FC46A4}"/>
              </a:ext>
            </a:extLst>
          </p:cNvPr>
          <p:cNvSpPr/>
          <p:nvPr/>
        </p:nvSpPr>
        <p:spPr>
          <a:xfrm>
            <a:off x="6307392" y="2679388"/>
            <a:ext cx="4896461" cy="1017465"/>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err="1">
                <a:ln>
                  <a:noFill/>
                </a:ln>
                <a:solidFill>
                  <a:prstClr val="white"/>
                </a:solidFill>
                <a:effectLst/>
                <a:uLnTx/>
                <a:uFillTx/>
                <a:latin typeface="Calibri" panose="020F0502020204030204"/>
                <a:ea typeface="+mn-ea"/>
                <a:cs typeface="+mn-cs"/>
              </a:rPr>
              <a:t>LangChain</a:t>
            </a: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 Integ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Us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LangChain</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to manage interactions between the application and the Googl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PaLM</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PI, handling complex queries and responses.</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Arrow: Right 14">
            <a:extLst>
              <a:ext uri="{FF2B5EF4-FFF2-40B4-BE49-F238E27FC236}">
                <a16:creationId xmlns:a16="http://schemas.microsoft.com/office/drawing/2014/main" id="{587568F8-3AEC-7BF6-FDF6-DB0C4DD55016}"/>
              </a:ext>
            </a:extLst>
          </p:cNvPr>
          <p:cNvSpPr/>
          <p:nvPr/>
        </p:nvSpPr>
        <p:spPr>
          <a:xfrm rot="16200000">
            <a:off x="8571704" y="2262905"/>
            <a:ext cx="603681" cy="218020"/>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D96D3C78-911A-AD44-3985-803946CC32FB}"/>
              </a:ext>
            </a:extLst>
          </p:cNvPr>
          <p:cNvSpPr/>
          <p:nvPr/>
        </p:nvSpPr>
        <p:spPr>
          <a:xfrm rot="5400000">
            <a:off x="2504347" y="3812113"/>
            <a:ext cx="630377" cy="210978"/>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Arrow: Right 18">
            <a:extLst>
              <a:ext uri="{FF2B5EF4-FFF2-40B4-BE49-F238E27FC236}">
                <a16:creationId xmlns:a16="http://schemas.microsoft.com/office/drawing/2014/main" id="{E113898E-6275-8A22-5E4D-764A6AA2E446}"/>
              </a:ext>
            </a:extLst>
          </p:cNvPr>
          <p:cNvSpPr/>
          <p:nvPr/>
        </p:nvSpPr>
        <p:spPr>
          <a:xfrm>
            <a:off x="5211093" y="5988268"/>
            <a:ext cx="1214291" cy="274881"/>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Arrow: Right 20">
            <a:extLst>
              <a:ext uri="{FF2B5EF4-FFF2-40B4-BE49-F238E27FC236}">
                <a16:creationId xmlns:a16="http://schemas.microsoft.com/office/drawing/2014/main" id="{6B2E48E0-918F-FCC3-6311-B7D29219371E}"/>
              </a:ext>
            </a:extLst>
          </p:cNvPr>
          <p:cNvSpPr/>
          <p:nvPr/>
        </p:nvSpPr>
        <p:spPr>
          <a:xfrm rot="5400000">
            <a:off x="2565600" y="2293030"/>
            <a:ext cx="518652" cy="200197"/>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Arrow: Right 21">
            <a:extLst>
              <a:ext uri="{FF2B5EF4-FFF2-40B4-BE49-F238E27FC236}">
                <a16:creationId xmlns:a16="http://schemas.microsoft.com/office/drawing/2014/main" id="{2EF5EF5F-5DBC-1C43-E84B-FFBC12D3A99A}"/>
              </a:ext>
            </a:extLst>
          </p:cNvPr>
          <p:cNvSpPr/>
          <p:nvPr/>
        </p:nvSpPr>
        <p:spPr>
          <a:xfrm rot="5400000">
            <a:off x="2508004" y="5387999"/>
            <a:ext cx="633843"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Arrow: Right 23">
            <a:extLst>
              <a:ext uri="{FF2B5EF4-FFF2-40B4-BE49-F238E27FC236}">
                <a16:creationId xmlns:a16="http://schemas.microsoft.com/office/drawing/2014/main" id="{82A78E61-7BD5-C805-7B78-2203DE71FFA2}"/>
              </a:ext>
            </a:extLst>
          </p:cNvPr>
          <p:cNvSpPr/>
          <p:nvPr/>
        </p:nvSpPr>
        <p:spPr>
          <a:xfrm rot="16200000">
            <a:off x="8560986" y="3851958"/>
            <a:ext cx="616208" cy="209112"/>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Arrow: Right 24">
            <a:extLst>
              <a:ext uri="{FF2B5EF4-FFF2-40B4-BE49-F238E27FC236}">
                <a16:creationId xmlns:a16="http://schemas.microsoft.com/office/drawing/2014/main" id="{47E17201-4F7F-F1DE-08CE-02C9C8973C0E}"/>
              </a:ext>
            </a:extLst>
          </p:cNvPr>
          <p:cNvSpPr/>
          <p:nvPr/>
        </p:nvSpPr>
        <p:spPr>
          <a:xfrm rot="16200000">
            <a:off x="8577647" y="5363266"/>
            <a:ext cx="634248"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738F7EC5-6F2D-0F32-ED47-DE8C7B572CF0}"/>
              </a:ext>
            </a:extLst>
          </p:cNvPr>
          <p:cNvSpPr txBox="1"/>
          <p:nvPr/>
        </p:nvSpPr>
        <p:spPr>
          <a:xfrm>
            <a:off x="196645" y="97456"/>
            <a:ext cx="1179871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000" b="1" i="0" u="none" strike="noStrike" kern="1200" cap="none" spc="0" normalizeH="0" baseline="0" noProof="0" dirty="0">
                <a:ln>
                  <a:noFill/>
                </a:ln>
                <a:solidFill>
                  <a:srgbClr val="ACCBF9">
                    <a:lumMod val="75000"/>
                  </a:srgbClr>
                </a:solidFill>
                <a:effectLst/>
                <a:uLnTx/>
                <a:uFillTx/>
                <a:latin typeface="Calibri" panose="020F0502020204030204"/>
                <a:ea typeface="+mn-ea"/>
                <a:cs typeface="+mn-cs"/>
              </a:rPr>
              <a:t>3.  METHODOLOGY FOR OPTIMIZED SUGGESTIONS</a:t>
            </a:r>
          </a:p>
        </p:txBody>
      </p:sp>
      <p:sp>
        <p:nvSpPr>
          <p:cNvPr id="2" name="TextBox 1">
            <a:extLst>
              <a:ext uri="{FF2B5EF4-FFF2-40B4-BE49-F238E27FC236}">
                <a16:creationId xmlns:a16="http://schemas.microsoft.com/office/drawing/2014/main" id="{4C5D98F7-09D0-612B-377D-42925F7CB3F1}"/>
              </a:ext>
            </a:extLst>
          </p:cNvPr>
          <p:cNvSpPr txBox="1"/>
          <p:nvPr/>
        </p:nvSpPr>
        <p:spPr>
          <a:xfrm>
            <a:off x="196645" y="572624"/>
            <a:ext cx="119953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fter training the ML models we create personalized suggestions using the below methodology to improve the sustainability.</a:t>
            </a:r>
            <a:endParaRPr kumimoji="0" lang="en-IN"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E320A379-8CAA-47A3-D2D8-1AD523203254}"/>
              </a:ext>
            </a:extLst>
          </p:cNvPr>
          <p:cNvPicPr>
            <a:picLocks noChangeAspect="1"/>
          </p:cNvPicPr>
          <p:nvPr/>
        </p:nvPicPr>
        <p:blipFill>
          <a:blip r:embed="rId2"/>
          <a:stretch>
            <a:fillRect/>
          </a:stretch>
        </p:blipFill>
        <p:spPr>
          <a:xfrm>
            <a:off x="11402961" y="6119506"/>
            <a:ext cx="543001" cy="590632"/>
          </a:xfrm>
          <a:prstGeom prst="rect">
            <a:avLst/>
          </a:prstGeom>
        </p:spPr>
      </p:pic>
    </p:spTree>
    <p:extLst>
      <p:ext uri="{BB962C8B-B14F-4D97-AF65-F5344CB8AC3E}">
        <p14:creationId xmlns:p14="http://schemas.microsoft.com/office/powerpoint/2010/main" val="12519784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F543E63A-843A-0C61-9B0A-644D8007F976}"/>
              </a:ext>
            </a:extLst>
          </p:cNvPr>
          <p:cNvSpPr>
            <a:spLocks noChangeArrowheads="1"/>
          </p:cNvSpPr>
          <p:nvPr/>
        </p:nvSpPr>
        <p:spPr bwMode="auto">
          <a:xfrm>
            <a:off x="128114" y="0"/>
            <a:ext cx="11935772" cy="4939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50000"/>
              </a:lnSpc>
              <a:spcBef>
                <a:spcPct val="0"/>
              </a:spcBef>
              <a:spcAft>
                <a:spcPct val="0"/>
              </a:spcAft>
              <a:buClrTx/>
              <a:buSzTx/>
              <a:tabLst/>
            </a:pPr>
            <a:r>
              <a:rPr kumimoji="0" lang="en-US" altLang="en-US" sz="1800" b="1" i="0" u="none" strike="noStrike" cap="none" normalizeH="0" baseline="0" dirty="0">
                <a:ln>
                  <a:noFill/>
                </a:ln>
                <a:solidFill>
                  <a:srgbClr val="0070C0"/>
                </a:solidFill>
                <a:effectLst/>
                <a:latin typeface="Arial" panose="020B0604020202020204" pitchFamily="34" charset="0"/>
              </a:rPr>
              <a:t>4. Model Complexity :</a:t>
            </a:r>
          </a:p>
          <a:p>
            <a:pPr marL="342900" indent="-342900" algn="just" eaLnBrk="0" fontAlgn="base" hangingPunct="0">
              <a:lnSpc>
                <a:spcPct val="150000"/>
              </a:lnSpc>
              <a:spcBef>
                <a:spcPct val="0"/>
              </a:spcBef>
              <a:spcAft>
                <a:spcPct val="0"/>
              </a:spcAft>
              <a:buFont typeface="+mj-lt"/>
              <a:buAutoNum type="arabicPeriod"/>
            </a:pPr>
            <a:r>
              <a:rPr lang="en-US" b="1" dirty="0"/>
              <a:t> Overfitting vs. Underfitting</a:t>
            </a:r>
            <a:r>
              <a:rPr lang="en-US" dirty="0"/>
              <a:t>: Decision Tree tends to overfit with perfect training accuracy but lower test accuracy, while Random Forest mitigates overfitting by averaging multiple trees, achieving better generalization.</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indent="-342900" algn="just" eaLnBrk="0" fontAlgn="base" hangingPunct="0">
              <a:lnSpc>
                <a:spcPct val="150000"/>
              </a:lnSpc>
              <a:spcBef>
                <a:spcPct val="0"/>
              </a:spcBef>
              <a:spcAft>
                <a:spcPct val="0"/>
              </a:spcAft>
              <a:buFont typeface="+mj-lt"/>
              <a:buAutoNum type="arabicPeriod"/>
            </a:pPr>
            <a:r>
              <a:rPr lang="en-US" b="1" dirty="0"/>
              <a:t>Computational Complexity</a:t>
            </a:r>
            <a:r>
              <a:rPr lang="en-US" dirty="0"/>
              <a:t>: Logistic Regression is computationally efficient and quick to train, whereas Random Forest and SVC require more time and resources due to their complexity.</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Rule-Based System:</a:t>
            </a:r>
            <a:r>
              <a:rPr lang="en-US" altLang="en-US" dirty="0"/>
              <a:t> </a:t>
            </a:r>
            <a:r>
              <a:rPr kumimoji="0" lang="en-US" altLang="en-US" sz="1800" b="0" i="0" u="none" strike="noStrike" cap="none" normalizeH="0" baseline="0" dirty="0">
                <a:ln>
                  <a:noFill/>
                </a:ln>
                <a:solidFill>
                  <a:schemeClr val="tx1"/>
                </a:solidFill>
                <a:effectLst/>
              </a:rPr>
              <a:t>Static conditions and rules increase complexity with more rules and specific conditions, requiring ongoing updates.</a:t>
            </a: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 AI Model Integration:</a:t>
            </a:r>
            <a:r>
              <a:rPr lang="en-US" altLang="en-US" dirty="0"/>
              <a:t> </a:t>
            </a:r>
            <a:r>
              <a:rPr kumimoji="0" lang="en-US" altLang="en-US" sz="1800" b="0" i="0" u="none" strike="noStrike" cap="none" normalizeH="0" baseline="0" dirty="0">
                <a:ln>
                  <a:noFill/>
                </a:ln>
                <a:solidFill>
                  <a:schemeClr val="tx1"/>
                </a:solidFill>
                <a:effectLst/>
              </a:rPr>
              <a:t>Google </a:t>
            </a:r>
            <a:r>
              <a:rPr kumimoji="0" lang="en-US" altLang="en-US" sz="1800" b="0" i="0" u="none" strike="noStrike" cap="none" normalizeH="0" baseline="0" dirty="0" err="1">
                <a:ln>
                  <a:noFill/>
                </a:ln>
                <a:solidFill>
                  <a:schemeClr val="tx1"/>
                </a:solidFill>
                <a:effectLst/>
              </a:rPr>
              <a:t>PaLM</a:t>
            </a:r>
            <a:r>
              <a:rPr kumimoji="0" lang="en-US" altLang="en-US" sz="1800" b="0" i="0" u="none" strike="noStrike" cap="none" normalizeH="0" baseline="0" dirty="0">
                <a:ln>
                  <a:noFill/>
                </a:ln>
                <a:solidFill>
                  <a:schemeClr val="tx1"/>
                </a:solidFill>
                <a:effectLst/>
              </a:rPr>
              <a:t> handles complex predictions and adaptations, involving data preprocessing and continuous model retraining.</a:t>
            </a:r>
            <a:endParaRPr lang="en-US" altLang="en-US" dirty="0"/>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err="1">
                <a:ln>
                  <a:noFill/>
                </a:ln>
                <a:solidFill>
                  <a:schemeClr val="tx1"/>
                </a:solidFill>
                <a:effectLst/>
              </a:rPr>
              <a:t>LangChain</a:t>
            </a:r>
            <a:r>
              <a:rPr kumimoji="0" lang="en-US" altLang="en-US" sz="1800" b="1" i="0" u="none" strike="noStrike" cap="none" normalizeH="0" baseline="0" dirty="0">
                <a:ln>
                  <a:noFill/>
                </a:ln>
                <a:solidFill>
                  <a:schemeClr val="tx1"/>
                </a:solidFill>
                <a:effectLst/>
              </a:rPr>
              <a:t> Layer:</a:t>
            </a:r>
            <a:r>
              <a:rPr lang="en-US" altLang="en-US" dirty="0"/>
              <a:t> </a:t>
            </a:r>
            <a:r>
              <a:rPr kumimoji="0" lang="en-US" altLang="en-US" sz="1800" b="0" i="0" u="none" strike="noStrike" cap="none" normalizeH="0" baseline="0" dirty="0">
                <a:ln>
                  <a:noFill/>
                </a:ln>
                <a:solidFill>
                  <a:schemeClr val="tx1"/>
                </a:solidFill>
                <a:effectLst/>
              </a:rPr>
              <a:t>Manages natural language queries and optimizes responses, adding complexity in interaction managemen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6DF86E07-66C6-33C4-687E-8C5338042B16}"/>
              </a:ext>
            </a:extLst>
          </p:cNvPr>
          <p:cNvSpPr txBox="1"/>
          <p:nvPr/>
        </p:nvSpPr>
        <p:spPr>
          <a:xfrm>
            <a:off x="128114" y="4520070"/>
            <a:ext cx="11935772" cy="2492990"/>
          </a:xfrm>
          <a:prstGeom prst="rect">
            <a:avLst/>
          </a:prstGeom>
          <a:noFill/>
        </p:spPr>
        <p:txBody>
          <a:bodyPr wrap="square" rtlCol="0">
            <a:spAutoFit/>
          </a:bodyPr>
          <a:lstStyle/>
          <a:p>
            <a:pPr algn="just">
              <a:lnSpc>
                <a:spcPct val="150000"/>
              </a:lnSpc>
            </a:pPr>
            <a:r>
              <a:rPr lang="en-US" sz="2000" b="1" dirty="0">
                <a:solidFill>
                  <a:srgbClr val="0070C0"/>
                </a:solidFill>
              </a:rPr>
              <a:t>5. Next Steps for Maturing the Model</a:t>
            </a:r>
          </a:p>
          <a:p>
            <a:pPr algn="just">
              <a:lnSpc>
                <a:spcPct val="150000"/>
              </a:lnSpc>
            </a:pPr>
            <a:r>
              <a:rPr lang="en-US" b="1" dirty="0"/>
              <a:t>1. Monitor and Retrain ML model : </a:t>
            </a:r>
            <a:r>
              <a:rPr lang="en-US" dirty="0"/>
              <a:t>Continuously monitor the ML model performance with new data and periodically retrain the model to adapt to changes in data patterns, ensuring sustained accuracy and relevance.</a:t>
            </a:r>
            <a:endParaRPr lang="en-US" b="1" dirty="0">
              <a:solidFill>
                <a:srgbClr val="0070C0"/>
              </a:solidFill>
            </a:endParaRPr>
          </a:p>
          <a:p>
            <a:pPr algn="just">
              <a:lnSpc>
                <a:spcPct val="150000"/>
              </a:lnSpc>
            </a:pPr>
            <a:r>
              <a:rPr lang="en-US" b="1" dirty="0"/>
              <a:t>2. Enhance Rule-Based Logic: </a:t>
            </a:r>
            <a:r>
              <a:rPr lang="en-US" dirty="0"/>
              <a:t>Refine and expand the rule set to improve accuracy and handle more diverse scenarios. Integrate user feedback to continuously update and optimize these rules.</a:t>
            </a:r>
          </a:p>
          <a:p>
            <a:pPr algn="just"/>
            <a:endParaRPr lang="en-IN" b="1" dirty="0">
              <a:solidFill>
                <a:srgbClr val="0070C0"/>
              </a:solidFill>
            </a:endParaRPr>
          </a:p>
        </p:txBody>
      </p:sp>
    </p:spTree>
    <p:extLst>
      <p:ext uri="{BB962C8B-B14F-4D97-AF65-F5344CB8AC3E}">
        <p14:creationId xmlns:p14="http://schemas.microsoft.com/office/powerpoint/2010/main" val="1070992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Deployment Plan and Integration</a:t>
            </a:r>
          </a:p>
        </p:txBody>
      </p:sp>
      <p:graphicFrame>
        <p:nvGraphicFramePr>
          <p:cNvPr id="3" name="Diagram 2">
            <a:extLst>
              <a:ext uri="{FF2B5EF4-FFF2-40B4-BE49-F238E27FC236}">
                <a16:creationId xmlns:a16="http://schemas.microsoft.com/office/drawing/2014/main" id="{BB7A6613-B27A-C237-F077-AC3EA786D5E5}"/>
              </a:ext>
            </a:extLst>
          </p:cNvPr>
          <p:cNvGraphicFramePr/>
          <p:nvPr/>
        </p:nvGraphicFramePr>
        <p:xfrm>
          <a:off x="422684" y="-70656"/>
          <a:ext cx="7816342" cy="4975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Left 4">
            <a:extLst>
              <a:ext uri="{FF2B5EF4-FFF2-40B4-BE49-F238E27FC236}">
                <a16:creationId xmlns:a16="http://schemas.microsoft.com/office/drawing/2014/main" id="{8D68AEF5-EACC-4017-D6D2-BE8436881A99}"/>
              </a:ext>
            </a:extLst>
          </p:cNvPr>
          <p:cNvSpPr/>
          <p:nvPr/>
        </p:nvSpPr>
        <p:spPr>
          <a:xfrm>
            <a:off x="9031287" y="1801459"/>
            <a:ext cx="2295525" cy="1485900"/>
          </a:xfrm>
          <a:prstGeom prst="lef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dirty="0">
                <a:ln>
                  <a:noFill/>
                </a:ln>
                <a:solidFill>
                  <a:prstClr val="white"/>
                </a:solidFill>
                <a:effectLst/>
                <a:uLnTx/>
                <a:uFillTx/>
                <a:latin typeface="Calibri" panose="020F0502020204030204"/>
                <a:ea typeface="+mn-ea"/>
                <a:cs typeface="+mn-cs"/>
              </a:rPr>
              <a:t>Ease of use </a:t>
            </a:r>
          </a:p>
        </p:txBody>
      </p:sp>
      <p:sp>
        <p:nvSpPr>
          <p:cNvPr id="8" name="Arrow: Right 7">
            <a:extLst>
              <a:ext uri="{FF2B5EF4-FFF2-40B4-BE49-F238E27FC236}">
                <a16:creationId xmlns:a16="http://schemas.microsoft.com/office/drawing/2014/main" id="{3AA14FDD-5F78-E54D-5421-1E585192873C}"/>
              </a:ext>
            </a:extLst>
          </p:cNvPr>
          <p:cNvSpPr/>
          <p:nvPr/>
        </p:nvSpPr>
        <p:spPr>
          <a:xfrm>
            <a:off x="566738" y="4686300"/>
            <a:ext cx="2419350" cy="1443038"/>
          </a:xfrm>
          <a:prstGeom prst="right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dirty="0">
                <a:ln>
                  <a:noFill/>
                </a:ln>
                <a:solidFill>
                  <a:prstClr val="white"/>
                </a:solidFill>
                <a:effectLst/>
                <a:uLnTx/>
                <a:uFillTx/>
                <a:latin typeface="Calibri" panose="020F0502020204030204"/>
                <a:ea typeface="+mn-ea"/>
                <a:cs typeface="+mn-cs"/>
              </a:rPr>
              <a:t>Deployment </a:t>
            </a:r>
          </a:p>
        </p:txBody>
      </p:sp>
      <p:graphicFrame>
        <p:nvGraphicFramePr>
          <p:cNvPr id="9" name="Diagram 8">
            <a:extLst>
              <a:ext uri="{FF2B5EF4-FFF2-40B4-BE49-F238E27FC236}">
                <a16:creationId xmlns:a16="http://schemas.microsoft.com/office/drawing/2014/main" id="{52EBBC88-6EC6-79E2-25D7-19EDA5DD22B2}"/>
              </a:ext>
            </a:extLst>
          </p:cNvPr>
          <p:cNvGraphicFramePr/>
          <p:nvPr>
            <p:extLst>
              <p:ext uri="{D42A27DB-BD31-4B8C-83A1-F6EECF244321}">
                <p14:modId xmlns:p14="http://schemas.microsoft.com/office/powerpoint/2010/main" val="4278369437"/>
              </p:ext>
            </p:extLst>
          </p:nvPr>
        </p:nvGraphicFramePr>
        <p:xfrm>
          <a:off x="4257368" y="3982065"/>
          <a:ext cx="5401592" cy="26772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 name="Picture 5">
            <a:extLst>
              <a:ext uri="{FF2B5EF4-FFF2-40B4-BE49-F238E27FC236}">
                <a16:creationId xmlns:a16="http://schemas.microsoft.com/office/drawing/2014/main" id="{2880B3BF-7004-72A7-1A2B-7D7A1E98BF1A}"/>
              </a:ext>
            </a:extLst>
          </p:cNvPr>
          <p:cNvPicPr>
            <a:picLocks noChangeAspect="1"/>
          </p:cNvPicPr>
          <p:nvPr/>
        </p:nvPicPr>
        <p:blipFill>
          <a:blip r:embed="rId13"/>
          <a:stretch>
            <a:fillRect/>
          </a:stretch>
        </p:blipFill>
        <p:spPr>
          <a:xfrm>
            <a:off x="11402961" y="6129338"/>
            <a:ext cx="543001" cy="590632"/>
          </a:xfrm>
          <a:prstGeom prst="rect">
            <a:avLst/>
          </a:prstGeom>
        </p:spPr>
      </p:pic>
    </p:spTree>
    <p:custDataLst>
      <p:tags r:id="rId1"/>
    </p:custDataLst>
    <p:extLst>
      <p:ext uri="{BB962C8B-B14F-4D97-AF65-F5344CB8AC3E}">
        <p14:creationId xmlns:p14="http://schemas.microsoft.com/office/powerpoint/2010/main" val="2205428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a:themeElements>
    <a:clrScheme name="Universal Color Block">
      <a:dk1>
        <a:srgbClr val="000000"/>
      </a:dk1>
      <a:lt1>
        <a:srgbClr val="FFFFFF"/>
      </a:lt1>
      <a:dk2>
        <a:srgbClr val="44546A"/>
      </a:dk2>
      <a:lt2>
        <a:srgbClr val="E7E6E6"/>
      </a:lt2>
      <a:accent1>
        <a:srgbClr val="0068FF"/>
      </a:accent1>
      <a:accent2>
        <a:srgbClr val="DAE5EF"/>
      </a:accent2>
      <a:accent3>
        <a:srgbClr val="637183"/>
      </a:accent3>
      <a:accent4>
        <a:srgbClr val="434E5E"/>
      </a:accent4>
      <a:accent5>
        <a:srgbClr val="5B9BD5"/>
      </a:accent5>
      <a:accent6>
        <a:srgbClr val="70AD47"/>
      </a:accent6>
      <a:hlink>
        <a:srgbClr val="0563C1"/>
      </a:hlink>
      <a:folHlink>
        <a:srgbClr val="954F72"/>
      </a:folHlink>
    </a:clrScheme>
    <a:fontScheme name="Custom 75">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45331398_Win32_SL_V13" id="{C59E605D-C281-4A06-BDA0-E97A35AC3AA8}" vid="{25D1D206-DA25-4050-926A-BD6D3A1B506F}"/>
    </a:ext>
  </a:extLst>
</a:theme>
</file>

<file path=ppt/theme/theme3.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TotalTime>
  <Words>1108</Words>
  <Application>Microsoft Office PowerPoint</Application>
  <PresentationFormat>Widescreen</PresentationFormat>
  <Paragraphs>150</Paragraphs>
  <Slides>11</Slides>
  <Notes>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1" baseType="lpstr">
      <vt:lpstr>Arial</vt:lpstr>
      <vt:lpstr>ATT Aleck Sans</vt:lpstr>
      <vt:lpstr>Calibri</vt:lpstr>
      <vt:lpstr>Calibri Light</vt:lpstr>
      <vt:lpstr>Graphik</vt:lpstr>
      <vt:lpstr>Tenorite</vt:lpstr>
      <vt:lpstr>Office Theme</vt:lpstr>
      <vt:lpstr>Custom</vt:lpstr>
      <vt:lpstr>2021 BAA</vt:lpstr>
      <vt:lpstr>think-cell Slide</vt:lpstr>
      <vt:lpstr>AI-Driven Energy Saving Advisor for Smart Homes</vt:lpstr>
      <vt:lpstr>PowerPoint Presentation</vt:lpstr>
      <vt:lpstr>Dataset Description</vt:lpstr>
      <vt:lpstr>PowerPoint Presentation</vt:lpstr>
      <vt:lpstr>Methodology and Outcome</vt:lpstr>
      <vt:lpstr>Methodology and Outcome</vt:lpstr>
      <vt:lpstr>PowerPoint Presentation</vt:lpstr>
      <vt:lpstr>PowerPoint Presentation</vt:lpstr>
      <vt:lpstr>Deployment Plan and Integration</vt:lpstr>
      <vt:lpstr>Recommendations and Next Steps </vt:lpstr>
      <vt:lpstr>Appendix: Key analys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thika K</dc:creator>
  <cp:lastModifiedBy>Jothika K</cp:lastModifiedBy>
  <cp:revision>1</cp:revision>
  <dcterms:created xsi:type="dcterms:W3CDTF">2024-08-23T18:45:20Z</dcterms:created>
  <dcterms:modified xsi:type="dcterms:W3CDTF">2024-08-23T21:28:49Z</dcterms:modified>
</cp:coreProperties>
</file>